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504" r:id="rId2"/>
    <p:sldId id="257" r:id="rId3"/>
    <p:sldId id="481" r:id="rId4"/>
    <p:sldId id="423" r:id="rId5"/>
    <p:sldId id="482" r:id="rId6"/>
    <p:sldId id="483" r:id="rId7"/>
    <p:sldId id="484" r:id="rId8"/>
    <p:sldId id="485" r:id="rId9"/>
    <p:sldId id="487" r:id="rId10"/>
    <p:sldId id="505" r:id="rId11"/>
    <p:sldId id="489" r:id="rId12"/>
    <p:sldId id="488" r:id="rId13"/>
    <p:sldId id="490" r:id="rId14"/>
    <p:sldId id="509" r:id="rId15"/>
    <p:sldId id="506" r:id="rId16"/>
    <p:sldId id="508" r:id="rId17"/>
    <p:sldId id="507" r:id="rId18"/>
    <p:sldId id="491" r:id="rId19"/>
    <p:sldId id="493" r:id="rId20"/>
    <p:sldId id="494" r:id="rId21"/>
    <p:sldId id="495" r:id="rId22"/>
    <p:sldId id="496" r:id="rId23"/>
    <p:sldId id="497" r:id="rId24"/>
    <p:sldId id="498" r:id="rId25"/>
    <p:sldId id="499" r:id="rId26"/>
    <p:sldId id="511" r:id="rId27"/>
    <p:sldId id="409" r:id="rId28"/>
    <p:sldId id="500" r:id="rId29"/>
    <p:sldId id="501" r:id="rId30"/>
    <p:sldId id="510" r:id="rId31"/>
    <p:sldId id="393" r:id="rId3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4040"/>
    <a:srgbClr val="75DBD3"/>
    <a:srgbClr val="748A96"/>
    <a:srgbClr val="9DC3E6"/>
    <a:srgbClr val="A4E7E1"/>
    <a:srgbClr val="657C91"/>
    <a:srgbClr val="61BC4D"/>
    <a:srgbClr val="FFC000"/>
    <a:srgbClr val="4040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29C054-4310-4435-BFB6-8CB46C4C7DE2}" v="71" dt="2022-12-14T15:11:08.180"/>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7" d="100"/>
          <a:sy n="67" d="100"/>
        </p:scale>
        <p:origin x="604"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im Lourimi" userId="e4a486d6-35e1-4ebe-aa1e-805a37c1b4fb" providerId="ADAL" clId="{3A29C054-4310-4435-BFB6-8CB46C4C7DE2}"/>
    <pc:docChg chg="undo redo custSel addSld delSld modSld sldOrd">
      <pc:chgData name="Karim Lourimi" userId="e4a486d6-35e1-4ebe-aa1e-805a37c1b4fb" providerId="ADAL" clId="{3A29C054-4310-4435-BFB6-8CB46C4C7DE2}" dt="2022-12-14T15:12:43.407" v="11503" actId="20577"/>
      <pc:docMkLst>
        <pc:docMk/>
      </pc:docMkLst>
      <pc:sldChg chg="add del">
        <pc:chgData name="Karim Lourimi" userId="e4a486d6-35e1-4ebe-aa1e-805a37c1b4fb" providerId="ADAL" clId="{3A29C054-4310-4435-BFB6-8CB46C4C7DE2}" dt="2022-12-12T20:00:11.793" v="116" actId="47"/>
        <pc:sldMkLst>
          <pc:docMk/>
          <pc:sldMk cId="2714444628" sldId="257"/>
        </pc:sldMkLst>
      </pc:sldChg>
      <pc:sldChg chg="del">
        <pc:chgData name="Karim Lourimi" userId="e4a486d6-35e1-4ebe-aa1e-805a37c1b4fb" providerId="ADAL" clId="{3A29C054-4310-4435-BFB6-8CB46C4C7DE2}" dt="2022-12-12T20:00:51.838" v="122" actId="47"/>
        <pc:sldMkLst>
          <pc:docMk/>
          <pc:sldMk cId="2369967097" sldId="302"/>
        </pc:sldMkLst>
      </pc:sldChg>
      <pc:sldChg chg="del">
        <pc:chgData name="Karim Lourimi" userId="e4a486d6-35e1-4ebe-aa1e-805a37c1b4fb" providerId="ADAL" clId="{3A29C054-4310-4435-BFB6-8CB46C4C7DE2}" dt="2022-12-12T20:00:40.002" v="119" actId="47"/>
        <pc:sldMkLst>
          <pc:docMk/>
          <pc:sldMk cId="652892622" sldId="391"/>
        </pc:sldMkLst>
      </pc:sldChg>
      <pc:sldChg chg="del">
        <pc:chgData name="Karim Lourimi" userId="e4a486d6-35e1-4ebe-aa1e-805a37c1b4fb" providerId="ADAL" clId="{3A29C054-4310-4435-BFB6-8CB46C4C7DE2}" dt="2022-12-12T20:00:51.838" v="122" actId="47"/>
        <pc:sldMkLst>
          <pc:docMk/>
          <pc:sldMk cId="2608665807" sldId="410"/>
        </pc:sldMkLst>
      </pc:sldChg>
      <pc:sldChg chg="del">
        <pc:chgData name="Karim Lourimi" userId="e4a486d6-35e1-4ebe-aa1e-805a37c1b4fb" providerId="ADAL" clId="{3A29C054-4310-4435-BFB6-8CB46C4C7DE2}" dt="2022-12-12T20:00:41.022" v="120" actId="47"/>
        <pc:sldMkLst>
          <pc:docMk/>
          <pc:sldMk cId="3886715613" sldId="416"/>
        </pc:sldMkLst>
      </pc:sldChg>
      <pc:sldChg chg="del">
        <pc:chgData name="Karim Lourimi" userId="e4a486d6-35e1-4ebe-aa1e-805a37c1b4fb" providerId="ADAL" clId="{3A29C054-4310-4435-BFB6-8CB46C4C7DE2}" dt="2022-12-12T20:00:42.016" v="121" actId="47"/>
        <pc:sldMkLst>
          <pc:docMk/>
          <pc:sldMk cId="1876829893" sldId="418"/>
        </pc:sldMkLst>
      </pc:sldChg>
      <pc:sldChg chg="add del">
        <pc:chgData name="Karim Lourimi" userId="e4a486d6-35e1-4ebe-aa1e-805a37c1b4fb" providerId="ADAL" clId="{3A29C054-4310-4435-BFB6-8CB46C4C7DE2}" dt="2022-12-12T20:00:37.846" v="118" actId="47"/>
        <pc:sldMkLst>
          <pc:docMk/>
          <pc:sldMk cId="1594121410" sldId="419"/>
        </pc:sldMkLst>
      </pc:sldChg>
      <pc:sldChg chg="modSp mod">
        <pc:chgData name="Karim Lourimi" userId="e4a486d6-35e1-4ebe-aa1e-805a37c1b4fb" providerId="ADAL" clId="{3A29C054-4310-4435-BFB6-8CB46C4C7DE2}" dt="2022-12-13T22:23:52.015" v="11204" actId="13926"/>
        <pc:sldMkLst>
          <pc:docMk/>
          <pc:sldMk cId="3142827641" sldId="423"/>
        </pc:sldMkLst>
        <pc:spChg chg="mod">
          <ac:chgData name="Karim Lourimi" userId="e4a486d6-35e1-4ebe-aa1e-805a37c1b4fb" providerId="ADAL" clId="{3A29C054-4310-4435-BFB6-8CB46C4C7DE2}" dt="2022-12-13T22:23:52.015" v="11204" actId="13926"/>
          <ac:spMkLst>
            <pc:docMk/>
            <pc:sldMk cId="3142827641" sldId="423"/>
            <ac:spMk id="4" creationId="{1DF7B3C1-7A3F-55E0-B9C1-254C1850BFB7}"/>
          </ac:spMkLst>
        </pc:spChg>
      </pc:sldChg>
      <pc:sldChg chg="del">
        <pc:chgData name="Karim Lourimi" userId="e4a486d6-35e1-4ebe-aa1e-805a37c1b4fb" providerId="ADAL" clId="{3A29C054-4310-4435-BFB6-8CB46C4C7DE2}" dt="2022-12-12T20:00:51.838" v="122" actId="47"/>
        <pc:sldMkLst>
          <pc:docMk/>
          <pc:sldMk cId="1111038118" sldId="474"/>
        </pc:sldMkLst>
      </pc:sldChg>
      <pc:sldChg chg="del">
        <pc:chgData name="Karim Lourimi" userId="e4a486d6-35e1-4ebe-aa1e-805a37c1b4fb" providerId="ADAL" clId="{3A29C054-4310-4435-BFB6-8CB46C4C7DE2}" dt="2022-12-12T20:00:51.838" v="122" actId="47"/>
        <pc:sldMkLst>
          <pc:docMk/>
          <pc:sldMk cId="3637345941" sldId="475"/>
        </pc:sldMkLst>
      </pc:sldChg>
      <pc:sldChg chg="del">
        <pc:chgData name="Karim Lourimi" userId="e4a486d6-35e1-4ebe-aa1e-805a37c1b4fb" providerId="ADAL" clId="{3A29C054-4310-4435-BFB6-8CB46C4C7DE2}" dt="2022-12-12T20:00:51.838" v="122" actId="47"/>
        <pc:sldMkLst>
          <pc:docMk/>
          <pc:sldMk cId="2010163714" sldId="476"/>
        </pc:sldMkLst>
      </pc:sldChg>
      <pc:sldChg chg="del">
        <pc:chgData name="Karim Lourimi" userId="e4a486d6-35e1-4ebe-aa1e-805a37c1b4fb" providerId="ADAL" clId="{3A29C054-4310-4435-BFB6-8CB46C4C7DE2}" dt="2022-12-12T20:00:51.838" v="122" actId="47"/>
        <pc:sldMkLst>
          <pc:docMk/>
          <pc:sldMk cId="53531490" sldId="477"/>
        </pc:sldMkLst>
      </pc:sldChg>
      <pc:sldChg chg="del">
        <pc:chgData name="Karim Lourimi" userId="e4a486d6-35e1-4ebe-aa1e-805a37c1b4fb" providerId="ADAL" clId="{3A29C054-4310-4435-BFB6-8CB46C4C7DE2}" dt="2022-12-12T20:00:51.838" v="122" actId="47"/>
        <pc:sldMkLst>
          <pc:docMk/>
          <pc:sldMk cId="462465379" sldId="478"/>
        </pc:sldMkLst>
      </pc:sldChg>
      <pc:sldChg chg="del">
        <pc:chgData name="Karim Lourimi" userId="e4a486d6-35e1-4ebe-aa1e-805a37c1b4fb" providerId="ADAL" clId="{3A29C054-4310-4435-BFB6-8CB46C4C7DE2}" dt="2022-12-12T20:00:51.838" v="122" actId="47"/>
        <pc:sldMkLst>
          <pc:docMk/>
          <pc:sldMk cId="285267233" sldId="479"/>
        </pc:sldMkLst>
      </pc:sldChg>
      <pc:sldChg chg="del">
        <pc:chgData name="Karim Lourimi" userId="e4a486d6-35e1-4ebe-aa1e-805a37c1b4fb" providerId="ADAL" clId="{3A29C054-4310-4435-BFB6-8CB46C4C7DE2}" dt="2022-12-12T20:00:51.838" v="122" actId="47"/>
        <pc:sldMkLst>
          <pc:docMk/>
          <pc:sldMk cId="3776896152" sldId="480"/>
        </pc:sldMkLst>
      </pc:sldChg>
      <pc:sldChg chg="modSp mod">
        <pc:chgData name="Karim Lourimi" userId="e4a486d6-35e1-4ebe-aa1e-805a37c1b4fb" providerId="ADAL" clId="{3A29C054-4310-4435-BFB6-8CB46C4C7DE2}" dt="2022-12-12T20:01:15.771" v="140" actId="20577"/>
        <pc:sldMkLst>
          <pc:docMk/>
          <pc:sldMk cId="3524601245" sldId="481"/>
        </pc:sldMkLst>
        <pc:spChg chg="mod">
          <ac:chgData name="Karim Lourimi" userId="e4a486d6-35e1-4ebe-aa1e-805a37c1b4fb" providerId="ADAL" clId="{3A29C054-4310-4435-BFB6-8CB46C4C7DE2}" dt="2022-12-12T20:01:15.771" v="140" actId="20577"/>
          <ac:spMkLst>
            <pc:docMk/>
            <pc:sldMk cId="3524601245" sldId="481"/>
            <ac:spMk id="3" creationId="{B0262F37-0681-4BD1-8ED1-0B5A907E86C9}"/>
          </ac:spMkLst>
        </pc:spChg>
      </pc:sldChg>
      <pc:sldChg chg="modSp mod">
        <pc:chgData name="Karim Lourimi" userId="e4a486d6-35e1-4ebe-aa1e-805a37c1b4fb" providerId="ADAL" clId="{3A29C054-4310-4435-BFB6-8CB46C4C7DE2}" dt="2022-12-13T22:33:07.087" v="11271" actId="207"/>
        <pc:sldMkLst>
          <pc:docMk/>
          <pc:sldMk cId="120688346" sldId="482"/>
        </pc:sldMkLst>
        <pc:spChg chg="mod">
          <ac:chgData name="Karim Lourimi" userId="e4a486d6-35e1-4ebe-aa1e-805a37c1b4fb" providerId="ADAL" clId="{3A29C054-4310-4435-BFB6-8CB46C4C7DE2}" dt="2022-12-13T22:33:07.087" v="11271" actId="207"/>
          <ac:spMkLst>
            <pc:docMk/>
            <pc:sldMk cId="120688346" sldId="482"/>
            <ac:spMk id="4" creationId="{1DF7B3C1-7A3F-55E0-B9C1-254C1850BFB7}"/>
          </ac:spMkLst>
        </pc:spChg>
      </pc:sldChg>
      <pc:sldChg chg="modSp mod">
        <pc:chgData name="Karim Lourimi" userId="e4a486d6-35e1-4ebe-aa1e-805a37c1b4fb" providerId="ADAL" clId="{3A29C054-4310-4435-BFB6-8CB46C4C7DE2}" dt="2022-12-13T10:53:45.055" v="4142" actId="20577"/>
        <pc:sldMkLst>
          <pc:docMk/>
          <pc:sldMk cId="4145231213" sldId="483"/>
        </pc:sldMkLst>
        <pc:spChg chg="mod">
          <ac:chgData name="Karim Lourimi" userId="e4a486d6-35e1-4ebe-aa1e-805a37c1b4fb" providerId="ADAL" clId="{3A29C054-4310-4435-BFB6-8CB46C4C7DE2}" dt="2022-12-13T10:53:45.055" v="4142" actId="20577"/>
          <ac:spMkLst>
            <pc:docMk/>
            <pc:sldMk cId="4145231213" sldId="483"/>
            <ac:spMk id="4" creationId="{1DF7B3C1-7A3F-55E0-B9C1-254C1850BFB7}"/>
          </ac:spMkLst>
        </pc:spChg>
      </pc:sldChg>
      <pc:sldChg chg="modSp mod">
        <pc:chgData name="Karim Lourimi" userId="e4a486d6-35e1-4ebe-aa1e-805a37c1b4fb" providerId="ADAL" clId="{3A29C054-4310-4435-BFB6-8CB46C4C7DE2}" dt="2022-12-13T10:53:52.718" v="4143" actId="255"/>
        <pc:sldMkLst>
          <pc:docMk/>
          <pc:sldMk cId="2426156938" sldId="484"/>
        </pc:sldMkLst>
        <pc:spChg chg="mod">
          <ac:chgData name="Karim Lourimi" userId="e4a486d6-35e1-4ebe-aa1e-805a37c1b4fb" providerId="ADAL" clId="{3A29C054-4310-4435-BFB6-8CB46C4C7DE2}" dt="2022-12-13T10:53:52.718" v="4143" actId="255"/>
          <ac:spMkLst>
            <pc:docMk/>
            <pc:sldMk cId="2426156938" sldId="484"/>
            <ac:spMk id="4" creationId="{1DF7B3C1-7A3F-55E0-B9C1-254C1850BFB7}"/>
          </ac:spMkLst>
        </pc:spChg>
      </pc:sldChg>
      <pc:sldChg chg="modSp mod">
        <pc:chgData name="Karim Lourimi" userId="e4a486d6-35e1-4ebe-aa1e-805a37c1b4fb" providerId="ADAL" clId="{3A29C054-4310-4435-BFB6-8CB46C4C7DE2}" dt="2022-12-13T10:54:08.156" v="4145" actId="255"/>
        <pc:sldMkLst>
          <pc:docMk/>
          <pc:sldMk cId="1040846538" sldId="485"/>
        </pc:sldMkLst>
        <pc:spChg chg="mod">
          <ac:chgData name="Karim Lourimi" userId="e4a486d6-35e1-4ebe-aa1e-805a37c1b4fb" providerId="ADAL" clId="{3A29C054-4310-4435-BFB6-8CB46C4C7DE2}" dt="2022-12-13T10:54:08.156" v="4145" actId="255"/>
          <ac:spMkLst>
            <pc:docMk/>
            <pc:sldMk cId="1040846538" sldId="485"/>
            <ac:spMk id="4" creationId="{1DF7B3C1-7A3F-55E0-B9C1-254C1850BFB7}"/>
          </ac:spMkLst>
        </pc:spChg>
      </pc:sldChg>
      <pc:sldChg chg="del">
        <pc:chgData name="Karim Lourimi" userId="e4a486d6-35e1-4ebe-aa1e-805a37c1b4fb" providerId="ADAL" clId="{3A29C054-4310-4435-BFB6-8CB46C4C7DE2}" dt="2022-12-12T20:13:41.304" v="454" actId="47"/>
        <pc:sldMkLst>
          <pc:docMk/>
          <pc:sldMk cId="68859295" sldId="486"/>
        </pc:sldMkLst>
      </pc:sldChg>
      <pc:sldChg chg="modSp mod">
        <pc:chgData name="Karim Lourimi" userId="e4a486d6-35e1-4ebe-aa1e-805a37c1b4fb" providerId="ADAL" clId="{3A29C054-4310-4435-BFB6-8CB46C4C7DE2}" dt="2022-12-13T10:54:35.321" v="4172" actId="20577"/>
        <pc:sldMkLst>
          <pc:docMk/>
          <pc:sldMk cId="3485762982" sldId="487"/>
        </pc:sldMkLst>
        <pc:spChg chg="mod">
          <ac:chgData name="Karim Lourimi" userId="e4a486d6-35e1-4ebe-aa1e-805a37c1b4fb" providerId="ADAL" clId="{3A29C054-4310-4435-BFB6-8CB46C4C7DE2}" dt="2022-12-13T10:54:35.321" v="4172" actId="20577"/>
          <ac:spMkLst>
            <pc:docMk/>
            <pc:sldMk cId="3485762982" sldId="487"/>
            <ac:spMk id="4" creationId="{1DF7B3C1-7A3F-55E0-B9C1-254C1850BFB7}"/>
          </ac:spMkLst>
        </pc:spChg>
      </pc:sldChg>
      <pc:sldChg chg="modSp mod ord">
        <pc:chgData name="Karim Lourimi" userId="e4a486d6-35e1-4ebe-aa1e-805a37c1b4fb" providerId="ADAL" clId="{3A29C054-4310-4435-BFB6-8CB46C4C7DE2}" dt="2022-12-13T13:23:29.495" v="7221"/>
        <pc:sldMkLst>
          <pc:docMk/>
          <pc:sldMk cId="4144276034" sldId="488"/>
        </pc:sldMkLst>
        <pc:spChg chg="mod">
          <ac:chgData name="Karim Lourimi" userId="e4a486d6-35e1-4ebe-aa1e-805a37c1b4fb" providerId="ADAL" clId="{3A29C054-4310-4435-BFB6-8CB46C4C7DE2}" dt="2022-12-12T21:11:50.798" v="4136" actId="20577"/>
          <ac:spMkLst>
            <pc:docMk/>
            <pc:sldMk cId="4144276034" sldId="488"/>
            <ac:spMk id="2" creationId="{8B652691-C4F1-063F-0AD3-01DA1218A854}"/>
          </ac:spMkLst>
        </pc:spChg>
        <pc:spChg chg="mod">
          <ac:chgData name="Karim Lourimi" userId="e4a486d6-35e1-4ebe-aa1e-805a37c1b4fb" providerId="ADAL" clId="{3A29C054-4310-4435-BFB6-8CB46C4C7DE2}" dt="2022-12-13T11:39:39.614" v="5991" actId="12"/>
          <ac:spMkLst>
            <pc:docMk/>
            <pc:sldMk cId="4144276034" sldId="488"/>
            <ac:spMk id="4" creationId="{1DF7B3C1-7A3F-55E0-B9C1-254C1850BFB7}"/>
          </ac:spMkLst>
        </pc:spChg>
      </pc:sldChg>
      <pc:sldChg chg="modSp mod">
        <pc:chgData name="Karim Lourimi" userId="e4a486d6-35e1-4ebe-aa1e-805a37c1b4fb" providerId="ADAL" clId="{3A29C054-4310-4435-BFB6-8CB46C4C7DE2}" dt="2022-12-13T13:39:25.352" v="8395" actId="20577"/>
        <pc:sldMkLst>
          <pc:docMk/>
          <pc:sldMk cId="89622009" sldId="489"/>
        </pc:sldMkLst>
        <pc:spChg chg="mod">
          <ac:chgData name="Karim Lourimi" userId="e4a486d6-35e1-4ebe-aa1e-805a37c1b4fb" providerId="ADAL" clId="{3A29C054-4310-4435-BFB6-8CB46C4C7DE2}" dt="2022-12-12T20:29:37.799" v="1591" actId="20577"/>
          <ac:spMkLst>
            <pc:docMk/>
            <pc:sldMk cId="89622009" sldId="489"/>
            <ac:spMk id="2" creationId="{8B652691-C4F1-063F-0AD3-01DA1218A854}"/>
          </ac:spMkLst>
        </pc:spChg>
        <pc:spChg chg="mod">
          <ac:chgData name="Karim Lourimi" userId="e4a486d6-35e1-4ebe-aa1e-805a37c1b4fb" providerId="ADAL" clId="{3A29C054-4310-4435-BFB6-8CB46C4C7DE2}" dt="2022-12-13T13:39:13.530" v="8375" actId="1036"/>
          <ac:spMkLst>
            <pc:docMk/>
            <pc:sldMk cId="89622009" sldId="489"/>
            <ac:spMk id="3" creationId="{CEF314BF-4B51-E830-96B6-CF2E120304F3}"/>
          </ac:spMkLst>
        </pc:spChg>
        <pc:spChg chg="mod">
          <ac:chgData name="Karim Lourimi" userId="e4a486d6-35e1-4ebe-aa1e-805a37c1b4fb" providerId="ADAL" clId="{3A29C054-4310-4435-BFB6-8CB46C4C7DE2}" dt="2022-12-13T13:39:25.352" v="8395" actId="20577"/>
          <ac:spMkLst>
            <pc:docMk/>
            <pc:sldMk cId="89622009" sldId="489"/>
            <ac:spMk id="4" creationId="{1DF7B3C1-7A3F-55E0-B9C1-254C1850BFB7}"/>
          </ac:spMkLst>
        </pc:spChg>
      </pc:sldChg>
      <pc:sldChg chg="addSp modSp mod ord">
        <pc:chgData name="Karim Lourimi" userId="e4a486d6-35e1-4ebe-aa1e-805a37c1b4fb" providerId="ADAL" clId="{3A29C054-4310-4435-BFB6-8CB46C4C7DE2}" dt="2022-12-13T13:37:35.809" v="7997" actId="20577"/>
        <pc:sldMkLst>
          <pc:docMk/>
          <pc:sldMk cId="4254608834" sldId="490"/>
        </pc:sldMkLst>
        <pc:spChg chg="mod">
          <ac:chgData name="Karim Lourimi" userId="e4a486d6-35e1-4ebe-aa1e-805a37c1b4fb" providerId="ADAL" clId="{3A29C054-4310-4435-BFB6-8CB46C4C7DE2}" dt="2022-12-13T13:37:35.809" v="7997" actId="20577"/>
          <ac:spMkLst>
            <pc:docMk/>
            <pc:sldMk cId="4254608834" sldId="490"/>
            <ac:spMk id="2" creationId="{8B652691-C4F1-063F-0AD3-01DA1218A854}"/>
          </ac:spMkLst>
        </pc:spChg>
        <pc:spChg chg="add mod">
          <ac:chgData name="Karim Lourimi" userId="e4a486d6-35e1-4ebe-aa1e-805a37c1b4fb" providerId="ADAL" clId="{3A29C054-4310-4435-BFB6-8CB46C4C7DE2}" dt="2022-12-13T12:46:52.325" v="7214" actId="255"/>
          <ac:spMkLst>
            <pc:docMk/>
            <pc:sldMk cId="4254608834" sldId="490"/>
            <ac:spMk id="3" creationId="{392D44E8-6503-14EF-66D0-E99EA8B0E4E5}"/>
          </ac:spMkLst>
        </pc:spChg>
        <pc:spChg chg="mod">
          <ac:chgData name="Karim Lourimi" userId="e4a486d6-35e1-4ebe-aa1e-805a37c1b4fb" providerId="ADAL" clId="{3A29C054-4310-4435-BFB6-8CB46C4C7DE2}" dt="2022-12-13T12:46:59.210" v="7215" actId="255"/>
          <ac:spMkLst>
            <pc:docMk/>
            <pc:sldMk cId="4254608834" sldId="490"/>
            <ac:spMk id="4" creationId="{1DF7B3C1-7A3F-55E0-B9C1-254C1850BFB7}"/>
          </ac:spMkLst>
        </pc:spChg>
      </pc:sldChg>
      <pc:sldChg chg="modSp mod">
        <pc:chgData name="Karim Lourimi" userId="e4a486d6-35e1-4ebe-aa1e-805a37c1b4fb" providerId="ADAL" clId="{3A29C054-4310-4435-BFB6-8CB46C4C7DE2}" dt="2022-12-13T13:47:03.768" v="9226" actId="20577"/>
        <pc:sldMkLst>
          <pc:docMk/>
          <pc:sldMk cId="1430092413" sldId="493"/>
        </pc:sldMkLst>
        <pc:graphicFrameChg chg="modGraphic">
          <ac:chgData name="Karim Lourimi" userId="e4a486d6-35e1-4ebe-aa1e-805a37c1b4fb" providerId="ADAL" clId="{3A29C054-4310-4435-BFB6-8CB46C4C7DE2}" dt="2022-12-13T13:47:03.768" v="9226" actId="20577"/>
          <ac:graphicFrameMkLst>
            <pc:docMk/>
            <pc:sldMk cId="1430092413" sldId="493"/>
            <ac:graphicFrameMk id="3" creationId="{E1058F4D-EF9D-A419-D178-2ED0636829D9}"/>
          </ac:graphicFrameMkLst>
        </pc:graphicFrameChg>
      </pc:sldChg>
      <pc:sldChg chg="modSp mod">
        <pc:chgData name="Karim Lourimi" userId="e4a486d6-35e1-4ebe-aa1e-805a37c1b4fb" providerId="ADAL" clId="{3A29C054-4310-4435-BFB6-8CB46C4C7DE2}" dt="2022-12-13T13:57:42.662" v="9445" actId="14734"/>
        <pc:sldMkLst>
          <pc:docMk/>
          <pc:sldMk cId="2664053642" sldId="494"/>
        </pc:sldMkLst>
        <pc:graphicFrameChg chg="modGraphic">
          <ac:chgData name="Karim Lourimi" userId="e4a486d6-35e1-4ebe-aa1e-805a37c1b4fb" providerId="ADAL" clId="{3A29C054-4310-4435-BFB6-8CB46C4C7DE2}" dt="2022-12-13T13:57:39.663" v="9444" actId="20577"/>
          <ac:graphicFrameMkLst>
            <pc:docMk/>
            <pc:sldMk cId="2664053642" sldId="494"/>
            <ac:graphicFrameMk id="3" creationId="{E1058F4D-EF9D-A419-D178-2ED0636829D9}"/>
          </ac:graphicFrameMkLst>
        </pc:graphicFrameChg>
        <pc:graphicFrameChg chg="mod modGraphic">
          <ac:chgData name="Karim Lourimi" userId="e4a486d6-35e1-4ebe-aa1e-805a37c1b4fb" providerId="ADAL" clId="{3A29C054-4310-4435-BFB6-8CB46C4C7DE2}" dt="2022-12-13T13:57:42.662" v="9445" actId="14734"/>
          <ac:graphicFrameMkLst>
            <pc:docMk/>
            <pc:sldMk cId="2664053642" sldId="494"/>
            <ac:graphicFrameMk id="6" creationId="{F31D8C99-B400-CBC1-EBE7-8429EB98809B}"/>
          </ac:graphicFrameMkLst>
        </pc:graphicFrameChg>
      </pc:sldChg>
      <pc:sldChg chg="modSp mod">
        <pc:chgData name="Karim Lourimi" userId="e4a486d6-35e1-4ebe-aa1e-805a37c1b4fb" providerId="ADAL" clId="{3A29C054-4310-4435-BFB6-8CB46C4C7DE2}" dt="2022-12-13T14:00:03.322" v="9684" actId="255"/>
        <pc:sldMkLst>
          <pc:docMk/>
          <pc:sldMk cId="3214290503" sldId="495"/>
        </pc:sldMkLst>
        <pc:graphicFrameChg chg="modGraphic">
          <ac:chgData name="Karim Lourimi" userId="e4a486d6-35e1-4ebe-aa1e-805a37c1b4fb" providerId="ADAL" clId="{3A29C054-4310-4435-BFB6-8CB46C4C7DE2}" dt="2022-12-13T14:00:03.322" v="9684" actId="255"/>
          <ac:graphicFrameMkLst>
            <pc:docMk/>
            <pc:sldMk cId="3214290503" sldId="495"/>
            <ac:graphicFrameMk id="3" creationId="{E1058F4D-EF9D-A419-D178-2ED0636829D9}"/>
          </ac:graphicFrameMkLst>
        </pc:graphicFrameChg>
      </pc:sldChg>
      <pc:sldChg chg="modSp mod">
        <pc:chgData name="Karim Lourimi" userId="e4a486d6-35e1-4ebe-aa1e-805a37c1b4fb" providerId="ADAL" clId="{3A29C054-4310-4435-BFB6-8CB46C4C7DE2}" dt="2022-12-13T14:08:49.764" v="10247" actId="255"/>
        <pc:sldMkLst>
          <pc:docMk/>
          <pc:sldMk cId="1963983640" sldId="496"/>
        </pc:sldMkLst>
        <pc:graphicFrameChg chg="mod modGraphic">
          <ac:chgData name="Karim Lourimi" userId="e4a486d6-35e1-4ebe-aa1e-805a37c1b4fb" providerId="ADAL" clId="{3A29C054-4310-4435-BFB6-8CB46C4C7DE2}" dt="2022-12-13T14:08:49.764" v="10247" actId="255"/>
          <ac:graphicFrameMkLst>
            <pc:docMk/>
            <pc:sldMk cId="1963983640" sldId="496"/>
            <ac:graphicFrameMk id="3" creationId="{E1058F4D-EF9D-A419-D178-2ED0636829D9}"/>
          </ac:graphicFrameMkLst>
        </pc:graphicFrameChg>
      </pc:sldChg>
      <pc:sldChg chg="modSp mod">
        <pc:chgData name="Karim Lourimi" userId="e4a486d6-35e1-4ebe-aa1e-805a37c1b4fb" providerId="ADAL" clId="{3A29C054-4310-4435-BFB6-8CB46C4C7DE2}" dt="2022-12-13T22:07:54.380" v="10970" actId="20577"/>
        <pc:sldMkLst>
          <pc:docMk/>
          <pc:sldMk cId="2321321346" sldId="497"/>
        </pc:sldMkLst>
        <pc:graphicFrameChg chg="mod modGraphic">
          <ac:chgData name="Karim Lourimi" userId="e4a486d6-35e1-4ebe-aa1e-805a37c1b4fb" providerId="ADAL" clId="{3A29C054-4310-4435-BFB6-8CB46C4C7DE2}" dt="2022-12-13T22:07:54.380" v="10970" actId="20577"/>
          <ac:graphicFrameMkLst>
            <pc:docMk/>
            <pc:sldMk cId="2321321346" sldId="497"/>
            <ac:graphicFrameMk id="3" creationId="{E1058F4D-EF9D-A419-D178-2ED0636829D9}"/>
          </ac:graphicFrameMkLst>
        </pc:graphicFrameChg>
      </pc:sldChg>
      <pc:sldChg chg="modSp mod">
        <pc:chgData name="Karim Lourimi" userId="e4a486d6-35e1-4ebe-aa1e-805a37c1b4fb" providerId="ADAL" clId="{3A29C054-4310-4435-BFB6-8CB46C4C7DE2}" dt="2022-12-14T14:16:28.462" v="11452" actId="20577"/>
        <pc:sldMkLst>
          <pc:docMk/>
          <pc:sldMk cId="2066467934" sldId="498"/>
        </pc:sldMkLst>
        <pc:spChg chg="mod">
          <ac:chgData name="Karim Lourimi" userId="e4a486d6-35e1-4ebe-aa1e-805a37c1b4fb" providerId="ADAL" clId="{3A29C054-4310-4435-BFB6-8CB46C4C7DE2}" dt="2022-12-13T22:08:35.629" v="11015" actId="1035"/>
          <ac:spMkLst>
            <pc:docMk/>
            <pc:sldMk cId="2066467934" sldId="498"/>
            <ac:spMk id="2" creationId="{8B652691-C4F1-063F-0AD3-01DA1218A854}"/>
          </ac:spMkLst>
        </pc:spChg>
        <pc:spChg chg="mod">
          <ac:chgData name="Karim Lourimi" userId="e4a486d6-35e1-4ebe-aa1e-805a37c1b4fb" providerId="ADAL" clId="{3A29C054-4310-4435-BFB6-8CB46C4C7DE2}" dt="2022-12-13T22:08:28.766" v="10996" actId="1036"/>
          <ac:spMkLst>
            <pc:docMk/>
            <pc:sldMk cId="2066467934" sldId="498"/>
            <ac:spMk id="21" creationId="{C6EAD278-49DD-550A-7C65-0AA34513BDEA}"/>
          </ac:spMkLst>
        </pc:spChg>
        <pc:spChg chg="mod">
          <ac:chgData name="Karim Lourimi" userId="e4a486d6-35e1-4ebe-aa1e-805a37c1b4fb" providerId="ADAL" clId="{3A29C054-4310-4435-BFB6-8CB46C4C7DE2}" dt="2022-12-13T22:08:28.766" v="10996" actId="1036"/>
          <ac:spMkLst>
            <pc:docMk/>
            <pc:sldMk cId="2066467934" sldId="498"/>
            <ac:spMk id="22" creationId="{71039F21-AA35-39B5-74A1-7E285A8CB452}"/>
          </ac:spMkLst>
        </pc:spChg>
        <pc:spChg chg="mod">
          <ac:chgData name="Karim Lourimi" userId="e4a486d6-35e1-4ebe-aa1e-805a37c1b4fb" providerId="ADAL" clId="{3A29C054-4310-4435-BFB6-8CB46C4C7DE2}" dt="2022-12-13T22:08:28.766" v="10996" actId="1036"/>
          <ac:spMkLst>
            <pc:docMk/>
            <pc:sldMk cId="2066467934" sldId="498"/>
            <ac:spMk id="23" creationId="{558E450A-67AA-AC89-5333-B42AC5B2FEB7}"/>
          </ac:spMkLst>
        </pc:spChg>
        <pc:spChg chg="mod">
          <ac:chgData name="Karim Lourimi" userId="e4a486d6-35e1-4ebe-aa1e-805a37c1b4fb" providerId="ADAL" clId="{3A29C054-4310-4435-BFB6-8CB46C4C7DE2}" dt="2022-12-13T22:08:28.766" v="10996" actId="1036"/>
          <ac:spMkLst>
            <pc:docMk/>
            <pc:sldMk cId="2066467934" sldId="498"/>
            <ac:spMk id="24" creationId="{61DF0641-81FA-26E6-ABA9-C1658BBD4E5C}"/>
          </ac:spMkLst>
        </pc:spChg>
        <pc:grpChg chg="mod">
          <ac:chgData name="Karim Lourimi" userId="e4a486d6-35e1-4ebe-aa1e-805a37c1b4fb" providerId="ADAL" clId="{3A29C054-4310-4435-BFB6-8CB46C4C7DE2}" dt="2022-12-13T22:08:28.766" v="10996" actId="1036"/>
          <ac:grpSpMkLst>
            <pc:docMk/>
            <pc:sldMk cId="2066467934" sldId="498"/>
            <ac:grpSpMk id="20" creationId="{14B4DF1C-3D4B-2C73-5CC1-A52A6C3EAEF8}"/>
          </ac:grpSpMkLst>
        </pc:grpChg>
        <pc:graphicFrameChg chg="mod modGraphic">
          <ac:chgData name="Karim Lourimi" userId="e4a486d6-35e1-4ebe-aa1e-805a37c1b4fb" providerId="ADAL" clId="{3A29C054-4310-4435-BFB6-8CB46C4C7DE2}" dt="2022-12-14T14:16:28.462" v="11452" actId="20577"/>
          <ac:graphicFrameMkLst>
            <pc:docMk/>
            <pc:sldMk cId="2066467934" sldId="498"/>
            <ac:graphicFrameMk id="3" creationId="{E1058F4D-EF9D-A419-D178-2ED0636829D9}"/>
          </ac:graphicFrameMkLst>
        </pc:graphicFrameChg>
      </pc:sldChg>
      <pc:sldChg chg="modSp mod">
        <pc:chgData name="Karim Lourimi" userId="e4a486d6-35e1-4ebe-aa1e-805a37c1b4fb" providerId="ADAL" clId="{3A29C054-4310-4435-BFB6-8CB46C4C7DE2}" dt="2022-12-13T22:08:09.451" v="10971" actId="255"/>
        <pc:sldMkLst>
          <pc:docMk/>
          <pc:sldMk cId="3395439747" sldId="499"/>
        </pc:sldMkLst>
        <pc:graphicFrameChg chg="modGraphic">
          <ac:chgData name="Karim Lourimi" userId="e4a486d6-35e1-4ebe-aa1e-805a37c1b4fb" providerId="ADAL" clId="{3A29C054-4310-4435-BFB6-8CB46C4C7DE2}" dt="2022-12-13T22:08:09.451" v="10971" actId="255"/>
          <ac:graphicFrameMkLst>
            <pc:docMk/>
            <pc:sldMk cId="3395439747" sldId="499"/>
            <ac:graphicFrameMk id="3" creationId="{E1058F4D-EF9D-A419-D178-2ED0636829D9}"/>
          </ac:graphicFrameMkLst>
        </pc:graphicFrameChg>
      </pc:sldChg>
      <pc:sldChg chg="addSp delSp modSp mod">
        <pc:chgData name="Karim Lourimi" userId="e4a486d6-35e1-4ebe-aa1e-805a37c1b4fb" providerId="ADAL" clId="{3A29C054-4310-4435-BFB6-8CB46C4C7DE2}" dt="2022-12-14T14:15:55.467" v="11443" actId="20577"/>
        <pc:sldMkLst>
          <pc:docMk/>
          <pc:sldMk cId="2427502585" sldId="500"/>
        </pc:sldMkLst>
        <pc:graphicFrameChg chg="del">
          <ac:chgData name="Karim Lourimi" userId="e4a486d6-35e1-4ebe-aa1e-805a37c1b4fb" providerId="ADAL" clId="{3A29C054-4310-4435-BFB6-8CB46C4C7DE2}" dt="2022-12-13T22:09:42.070" v="11033" actId="478"/>
          <ac:graphicFrameMkLst>
            <pc:docMk/>
            <pc:sldMk cId="2427502585" sldId="500"/>
            <ac:graphicFrameMk id="3" creationId="{8A43A77A-89DA-EC09-02A5-D78035D46674}"/>
          </ac:graphicFrameMkLst>
        </pc:graphicFrameChg>
        <pc:graphicFrameChg chg="add mod modGraphic">
          <ac:chgData name="Karim Lourimi" userId="e4a486d6-35e1-4ebe-aa1e-805a37c1b4fb" providerId="ADAL" clId="{3A29C054-4310-4435-BFB6-8CB46C4C7DE2}" dt="2022-12-14T14:15:55.467" v="11443" actId="20577"/>
          <ac:graphicFrameMkLst>
            <pc:docMk/>
            <pc:sldMk cId="2427502585" sldId="500"/>
            <ac:graphicFrameMk id="4" creationId="{14D93515-4D2D-8448-514F-A48D81625849}"/>
          </ac:graphicFrameMkLst>
        </pc:graphicFrameChg>
      </pc:sldChg>
      <pc:sldChg chg="addSp delSp modSp mod">
        <pc:chgData name="Karim Lourimi" userId="e4a486d6-35e1-4ebe-aa1e-805a37c1b4fb" providerId="ADAL" clId="{3A29C054-4310-4435-BFB6-8CB46C4C7DE2}" dt="2022-12-14T13:22:45.370" v="11425" actId="20577"/>
        <pc:sldMkLst>
          <pc:docMk/>
          <pc:sldMk cId="1244890359" sldId="501"/>
        </pc:sldMkLst>
        <pc:graphicFrameChg chg="add mod modGraphic">
          <ac:chgData name="Karim Lourimi" userId="e4a486d6-35e1-4ebe-aa1e-805a37c1b4fb" providerId="ADAL" clId="{3A29C054-4310-4435-BFB6-8CB46C4C7DE2}" dt="2022-12-14T13:22:45.370" v="11425" actId="20577"/>
          <ac:graphicFrameMkLst>
            <pc:docMk/>
            <pc:sldMk cId="1244890359" sldId="501"/>
            <ac:graphicFrameMk id="3" creationId="{048C14D7-C526-6FE7-6A1D-9CE37A95B232}"/>
          </ac:graphicFrameMkLst>
        </pc:graphicFrameChg>
        <pc:graphicFrameChg chg="del">
          <ac:chgData name="Karim Lourimi" userId="e4a486d6-35e1-4ebe-aa1e-805a37c1b4fb" providerId="ADAL" clId="{3A29C054-4310-4435-BFB6-8CB46C4C7DE2}" dt="2022-12-13T22:12:31.911" v="11102" actId="478"/>
          <ac:graphicFrameMkLst>
            <pc:docMk/>
            <pc:sldMk cId="1244890359" sldId="501"/>
            <ac:graphicFrameMk id="5" creationId="{7401149F-11BA-06B1-8F81-28D5260C26CB}"/>
          </ac:graphicFrameMkLst>
        </pc:graphicFrameChg>
      </pc:sldChg>
      <pc:sldChg chg="del">
        <pc:chgData name="Karim Lourimi" userId="e4a486d6-35e1-4ebe-aa1e-805a37c1b4fb" providerId="ADAL" clId="{3A29C054-4310-4435-BFB6-8CB46C4C7DE2}" dt="2022-12-13T22:14:05.573" v="11138" actId="47"/>
        <pc:sldMkLst>
          <pc:docMk/>
          <pc:sldMk cId="771968542" sldId="502"/>
        </pc:sldMkLst>
      </pc:sldChg>
      <pc:sldChg chg="addSp delSp modSp mod">
        <pc:chgData name="Karim Lourimi" userId="e4a486d6-35e1-4ebe-aa1e-805a37c1b4fb" providerId="ADAL" clId="{3A29C054-4310-4435-BFB6-8CB46C4C7DE2}" dt="2022-12-14T14:26:40.996" v="11454" actId="255"/>
        <pc:sldMkLst>
          <pc:docMk/>
          <pc:sldMk cId="3254617042" sldId="504"/>
        </pc:sldMkLst>
        <pc:spChg chg="mod">
          <ac:chgData name="Karim Lourimi" userId="e4a486d6-35e1-4ebe-aa1e-805a37c1b4fb" providerId="ADAL" clId="{3A29C054-4310-4435-BFB6-8CB46C4C7DE2}" dt="2022-12-12T19:57:40.374" v="45" actId="20577"/>
          <ac:spMkLst>
            <pc:docMk/>
            <pc:sldMk cId="3254617042" sldId="504"/>
            <ac:spMk id="3" creationId="{A2501C5D-39E7-84EE-0183-5C165F238ABA}"/>
          </ac:spMkLst>
        </pc:spChg>
        <pc:spChg chg="mod">
          <ac:chgData name="Karim Lourimi" userId="e4a486d6-35e1-4ebe-aa1e-805a37c1b4fb" providerId="ADAL" clId="{3A29C054-4310-4435-BFB6-8CB46C4C7DE2}" dt="2022-12-14T14:26:40.996" v="11454" actId="255"/>
          <ac:spMkLst>
            <pc:docMk/>
            <pc:sldMk cId="3254617042" sldId="504"/>
            <ac:spMk id="4" creationId="{F72F3C49-BBCE-C2B2-9E20-289218593435}"/>
          </ac:spMkLst>
        </pc:spChg>
        <pc:spChg chg="mod">
          <ac:chgData name="Karim Lourimi" userId="e4a486d6-35e1-4ebe-aa1e-805a37c1b4fb" providerId="ADAL" clId="{3A29C054-4310-4435-BFB6-8CB46C4C7DE2}" dt="2022-12-12T19:58:52.919" v="114" actId="20577"/>
          <ac:spMkLst>
            <pc:docMk/>
            <pc:sldMk cId="3254617042" sldId="504"/>
            <ac:spMk id="21" creationId="{02390CCD-8B7C-076B-5CC0-AE12E521AD52}"/>
          </ac:spMkLst>
        </pc:spChg>
        <pc:picChg chg="del">
          <ac:chgData name="Karim Lourimi" userId="e4a486d6-35e1-4ebe-aa1e-805a37c1b4fb" providerId="ADAL" clId="{3A29C054-4310-4435-BFB6-8CB46C4C7DE2}" dt="2022-12-12T19:56:01.881" v="0" actId="478"/>
          <ac:picMkLst>
            <pc:docMk/>
            <pc:sldMk cId="3254617042" sldId="504"/>
            <ac:picMk id="2" creationId="{24741201-6196-277B-7280-A1D3453AD088}"/>
          </ac:picMkLst>
        </pc:picChg>
        <pc:picChg chg="mod">
          <ac:chgData name="Karim Lourimi" userId="e4a486d6-35e1-4ebe-aa1e-805a37c1b4fb" providerId="ADAL" clId="{3A29C054-4310-4435-BFB6-8CB46C4C7DE2}" dt="2022-12-12T19:57:03.094" v="10"/>
          <ac:picMkLst>
            <pc:docMk/>
            <pc:sldMk cId="3254617042" sldId="504"/>
            <ac:picMk id="5" creationId="{127543E2-04C8-5728-ACC0-3FE1B07B1548}"/>
          </ac:picMkLst>
        </pc:picChg>
        <pc:picChg chg="del">
          <ac:chgData name="Karim Lourimi" userId="e4a486d6-35e1-4ebe-aa1e-805a37c1b4fb" providerId="ADAL" clId="{3A29C054-4310-4435-BFB6-8CB46C4C7DE2}" dt="2022-12-12T19:56:19.720" v="3" actId="478"/>
          <ac:picMkLst>
            <pc:docMk/>
            <pc:sldMk cId="3254617042" sldId="504"/>
            <ac:picMk id="6" creationId="{71023ABF-65B3-D46A-EE54-2EB87A0B68C4}"/>
          </ac:picMkLst>
        </pc:picChg>
        <pc:picChg chg="add mod">
          <ac:chgData name="Karim Lourimi" userId="e4a486d6-35e1-4ebe-aa1e-805a37c1b4fb" providerId="ADAL" clId="{3A29C054-4310-4435-BFB6-8CB46C4C7DE2}" dt="2022-12-12T19:56:09.455" v="2" actId="1076"/>
          <ac:picMkLst>
            <pc:docMk/>
            <pc:sldMk cId="3254617042" sldId="504"/>
            <ac:picMk id="7" creationId="{7B5D4E18-CF55-35BE-D4F3-47BA742F3E24}"/>
          </ac:picMkLst>
        </pc:picChg>
        <pc:picChg chg="add mod">
          <ac:chgData name="Karim Lourimi" userId="e4a486d6-35e1-4ebe-aa1e-805a37c1b4fb" providerId="ADAL" clId="{3A29C054-4310-4435-BFB6-8CB46C4C7DE2}" dt="2022-12-12T19:57:17.568" v="11" actId="1076"/>
          <ac:picMkLst>
            <pc:docMk/>
            <pc:sldMk cId="3254617042" sldId="504"/>
            <ac:picMk id="8" creationId="{164344B2-C2A2-D7D8-94D3-D869AE94D00B}"/>
          </ac:picMkLst>
        </pc:picChg>
      </pc:sldChg>
      <pc:sldChg chg="modSp add mod">
        <pc:chgData name="Karim Lourimi" userId="e4a486d6-35e1-4ebe-aa1e-805a37c1b4fb" providerId="ADAL" clId="{3A29C054-4310-4435-BFB6-8CB46C4C7DE2}" dt="2022-12-13T12:44:44.181" v="7169" actId="20577"/>
        <pc:sldMkLst>
          <pc:docMk/>
          <pc:sldMk cId="857860377" sldId="505"/>
        </pc:sldMkLst>
        <pc:spChg chg="mod">
          <ac:chgData name="Karim Lourimi" userId="e4a486d6-35e1-4ebe-aa1e-805a37c1b4fb" providerId="ADAL" clId="{3A29C054-4310-4435-BFB6-8CB46C4C7DE2}" dt="2022-12-13T12:44:44.181" v="7169" actId="20577"/>
          <ac:spMkLst>
            <pc:docMk/>
            <pc:sldMk cId="857860377" sldId="505"/>
            <ac:spMk id="3" creationId="{B0262F37-0681-4BD1-8ED1-0B5A907E86C9}"/>
          </ac:spMkLst>
        </pc:spChg>
      </pc:sldChg>
      <pc:sldChg chg="add del">
        <pc:chgData name="Karim Lourimi" userId="e4a486d6-35e1-4ebe-aa1e-805a37c1b4fb" providerId="ADAL" clId="{3A29C054-4310-4435-BFB6-8CB46C4C7DE2}" dt="2022-12-12T20:00:35.506" v="117" actId="47"/>
        <pc:sldMkLst>
          <pc:docMk/>
          <pc:sldMk cId="1792118258" sldId="505"/>
        </pc:sldMkLst>
      </pc:sldChg>
      <pc:sldChg chg="delSp modSp add mod">
        <pc:chgData name="Karim Lourimi" userId="e4a486d6-35e1-4ebe-aa1e-805a37c1b4fb" providerId="ADAL" clId="{3A29C054-4310-4435-BFB6-8CB46C4C7DE2}" dt="2022-12-13T11:15:01.908" v="5408" actId="20577"/>
        <pc:sldMkLst>
          <pc:docMk/>
          <pc:sldMk cId="811101324" sldId="506"/>
        </pc:sldMkLst>
        <pc:spChg chg="mod">
          <ac:chgData name="Karim Lourimi" userId="e4a486d6-35e1-4ebe-aa1e-805a37c1b4fb" providerId="ADAL" clId="{3A29C054-4310-4435-BFB6-8CB46C4C7DE2}" dt="2022-12-12T20:30:05.172" v="1660" actId="20577"/>
          <ac:spMkLst>
            <pc:docMk/>
            <pc:sldMk cId="811101324" sldId="506"/>
            <ac:spMk id="2" creationId="{8B652691-C4F1-063F-0AD3-01DA1218A854}"/>
          </ac:spMkLst>
        </pc:spChg>
        <pc:spChg chg="mod">
          <ac:chgData name="Karim Lourimi" userId="e4a486d6-35e1-4ebe-aa1e-805a37c1b4fb" providerId="ADAL" clId="{3A29C054-4310-4435-BFB6-8CB46C4C7DE2}" dt="2022-12-13T11:15:01.908" v="5408" actId="20577"/>
          <ac:spMkLst>
            <pc:docMk/>
            <pc:sldMk cId="811101324" sldId="506"/>
            <ac:spMk id="3" creationId="{CEF314BF-4B51-E830-96B6-CF2E120304F3}"/>
          </ac:spMkLst>
        </pc:spChg>
        <pc:spChg chg="del">
          <ac:chgData name="Karim Lourimi" userId="e4a486d6-35e1-4ebe-aa1e-805a37c1b4fb" providerId="ADAL" clId="{3A29C054-4310-4435-BFB6-8CB46C4C7DE2}" dt="2022-12-12T20:30:09.230" v="1661" actId="478"/>
          <ac:spMkLst>
            <pc:docMk/>
            <pc:sldMk cId="811101324" sldId="506"/>
            <ac:spMk id="4" creationId="{1DF7B3C1-7A3F-55E0-B9C1-254C1850BFB7}"/>
          </ac:spMkLst>
        </pc:spChg>
      </pc:sldChg>
      <pc:sldChg chg="addSp modSp add mod">
        <pc:chgData name="Karim Lourimi" userId="e4a486d6-35e1-4ebe-aa1e-805a37c1b4fb" providerId="ADAL" clId="{3A29C054-4310-4435-BFB6-8CB46C4C7DE2}" dt="2022-12-13T12:45:43.605" v="7198" actId="255"/>
        <pc:sldMkLst>
          <pc:docMk/>
          <pc:sldMk cId="4088663269" sldId="507"/>
        </pc:sldMkLst>
        <pc:spChg chg="mod">
          <ac:chgData name="Karim Lourimi" userId="e4a486d6-35e1-4ebe-aa1e-805a37c1b4fb" providerId="ADAL" clId="{3A29C054-4310-4435-BFB6-8CB46C4C7DE2}" dt="2022-12-12T20:34:39.909" v="1910" actId="313"/>
          <ac:spMkLst>
            <pc:docMk/>
            <pc:sldMk cId="4088663269" sldId="507"/>
            <ac:spMk id="2" creationId="{8B652691-C4F1-063F-0AD3-01DA1218A854}"/>
          </ac:spMkLst>
        </pc:spChg>
        <pc:spChg chg="mod">
          <ac:chgData name="Karim Lourimi" userId="e4a486d6-35e1-4ebe-aa1e-805a37c1b4fb" providerId="ADAL" clId="{3A29C054-4310-4435-BFB6-8CB46C4C7DE2}" dt="2022-12-13T12:45:37.325" v="7197" actId="255"/>
          <ac:spMkLst>
            <pc:docMk/>
            <pc:sldMk cId="4088663269" sldId="507"/>
            <ac:spMk id="4" creationId="{1DF7B3C1-7A3F-55E0-B9C1-254C1850BFB7}"/>
          </ac:spMkLst>
        </pc:spChg>
        <pc:spChg chg="add mod">
          <ac:chgData name="Karim Lourimi" userId="e4a486d6-35e1-4ebe-aa1e-805a37c1b4fb" providerId="ADAL" clId="{3A29C054-4310-4435-BFB6-8CB46C4C7DE2}" dt="2022-12-13T12:45:43.605" v="7198" actId="255"/>
          <ac:spMkLst>
            <pc:docMk/>
            <pc:sldMk cId="4088663269" sldId="507"/>
            <ac:spMk id="5" creationId="{0FD66FED-53E2-E438-ABA1-2F6158414579}"/>
          </ac:spMkLst>
        </pc:spChg>
      </pc:sldChg>
      <pc:sldChg chg="addSp modSp add mod">
        <pc:chgData name="Karim Lourimi" userId="e4a486d6-35e1-4ebe-aa1e-805a37c1b4fb" providerId="ADAL" clId="{3A29C054-4310-4435-BFB6-8CB46C4C7DE2}" dt="2022-12-13T12:44:56.920" v="7193" actId="1036"/>
        <pc:sldMkLst>
          <pc:docMk/>
          <pc:sldMk cId="1369612904" sldId="508"/>
        </pc:sldMkLst>
        <pc:spChg chg="mod">
          <ac:chgData name="Karim Lourimi" userId="e4a486d6-35e1-4ebe-aa1e-805a37c1b4fb" providerId="ADAL" clId="{3A29C054-4310-4435-BFB6-8CB46C4C7DE2}" dt="2022-12-12T21:08:03.533" v="4102"/>
          <ac:spMkLst>
            <pc:docMk/>
            <pc:sldMk cId="1369612904" sldId="508"/>
            <ac:spMk id="2" creationId="{8B652691-C4F1-063F-0AD3-01DA1218A854}"/>
          </ac:spMkLst>
        </pc:spChg>
        <pc:spChg chg="mod">
          <ac:chgData name="Karim Lourimi" userId="e4a486d6-35e1-4ebe-aa1e-805a37c1b4fb" providerId="ADAL" clId="{3A29C054-4310-4435-BFB6-8CB46C4C7DE2}" dt="2022-12-13T12:44:53.316" v="7179" actId="1035"/>
          <ac:spMkLst>
            <pc:docMk/>
            <pc:sldMk cId="1369612904" sldId="508"/>
            <ac:spMk id="4" creationId="{1DF7B3C1-7A3F-55E0-B9C1-254C1850BFB7}"/>
          </ac:spMkLst>
        </pc:spChg>
        <pc:spChg chg="add mod">
          <ac:chgData name="Karim Lourimi" userId="e4a486d6-35e1-4ebe-aa1e-805a37c1b4fb" providerId="ADAL" clId="{3A29C054-4310-4435-BFB6-8CB46C4C7DE2}" dt="2022-12-13T12:44:56.920" v="7193" actId="1036"/>
          <ac:spMkLst>
            <pc:docMk/>
            <pc:sldMk cId="1369612904" sldId="508"/>
            <ac:spMk id="5" creationId="{F0079E4A-91C5-AD06-A19F-987757C2AA5E}"/>
          </ac:spMkLst>
        </pc:spChg>
      </pc:sldChg>
      <pc:sldChg chg="modSp add mod">
        <pc:chgData name="Karim Lourimi" userId="e4a486d6-35e1-4ebe-aa1e-805a37c1b4fb" providerId="ADAL" clId="{3A29C054-4310-4435-BFB6-8CB46C4C7DE2}" dt="2022-12-13T13:42:14.018" v="8675" actId="20577"/>
        <pc:sldMkLst>
          <pc:docMk/>
          <pc:sldMk cId="2387889197" sldId="509"/>
        </pc:sldMkLst>
        <pc:spChg chg="mod">
          <ac:chgData name="Karim Lourimi" userId="e4a486d6-35e1-4ebe-aa1e-805a37c1b4fb" providerId="ADAL" clId="{3A29C054-4310-4435-BFB6-8CB46C4C7DE2}" dt="2022-12-13T13:24:56.846" v="7273" actId="20577"/>
          <ac:spMkLst>
            <pc:docMk/>
            <pc:sldMk cId="2387889197" sldId="509"/>
            <ac:spMk id="2" creationId="{8B652691-C4F1-063F-0AD3-01DA1218A854}"/>
          </ac:spMkLst>
        </pc:spChg>
        <pc:spChg chg="mod">
          <ac:chgData name="Karim Lourimi" userId="e4a486d6-35e1-4ebe-aa1e-805a37c1b4fb" providerId="ADAL" clId="{3A29C054-4310-4435-BFB6-8CB46C4C7DE2}" dt="2022-12-13T13:42:14.018" v="8675" actId="20577"/>
          <ac:spMkLst>
            <pc:docMk/>
            <pc:sldMk cId="2387889197" sldId="509"/>
            <ac:spMk id="3" creationId="{392D44E8-6503-14EF-66D0-E99EA8B0E4E5}"/>
          </ac:spMkLst>
        </pc:spChg>
        <pc:spChg chg="mod">
          <ac:chgData name="Karim Lourimi" userId="e4a486d6-35e1-4ebe-aa1e-805a37c1b4fb" providerId="ADAL" clId="{3A29C054-4310-4435-BFB6-8CB46C4C7DE2}" dt="2022-12-13T13:37:14.441" v="7995" actId="255"/>
          <ac:spMkLst>
            <pc:docMk/>
            <pc:sldMk cId="2387889197" sldId="509"/>
            <ac:spMk id="4" creationId="{1DF7B3C1-7A3F-55E0-B9C1-254C1850BFB7}"/>
          </ac:spMkLst>
        </pc:spChg>
      </pc:sldChg>
      <pc:sldChg chg="new add del">
        <pc:chgData name="Karim Lourimi" userId="e4a486d6-35e1-4ebe-aa1e-805a37c1b4fb" providerId="ADAL" clId="{3A29C054-4310-4435-BFB6-8CB46C4C7DE2}" dt="2022-12-13T12:49:10.811" v="7219" actId="47"/>
        <pc:sldMkLst>
          <pc:docMk/>
          <pc:sldMk cId="3559312546" sldId="509"/>
        </pc:sldMkLst>
      </pc:sldChg>
      <pc:sldChg chg="addSp delSp modSp add mod">
        <pc:chgData name="Karim Lourimi" userId="e4a486d6-35e1-4ebe-aa1e-805a37c1b4fb" providerId="ADAL" clId="{3A29C054-4310-4435-BFB6-8CB46C4C7DE2}" dt="2022-12-13T22:15:12" v="11146" actId="255"/>
        <pc:sldMkLst>
          <pc:docMk/>
          <pc:sldMk cId="3709478248" sldId="510"/>
        </pc:sldMkLst>
        <pc:graphicFrameChg chg="del">
          <ac:chgData name="Karim Lourimi" userId="e4a486d6-35e1-4ebe-aa1e-805a37c1b4fb" providerId="ADAL" clId="{3A29C054-4310-4435-BFB6-8CB46C4C7DE2}" dt="2022-12-13T22:14:12.793" v="11140" actId="478"/>
          <ac:graphicFrameMkLst>
            <pc:docMk/>
            <pc:sldMk cId="3709478248" sldId="510"/>
            <ac:graphicFrameMk id="3" creationId="{048C14D7-C526-6FE7-6A1D-9CE37A95B232}"/>
          </ac:graphicFrameMkLst>
        </pc:graphicFrameChg>
        <pc:graphicFrameChg chg="add mod modGraphic">
          <ac:chgData name="Karim Lourimi" userId="e4a486d6-35e1-4ebe-aa1e-805a37c1b4fb" providerId="ADAL" clId="{3A29C054-4310-4435-BFB6-8CB46C4C7DE2}" dt="2022-12-13T22:15:12" v="11146" actId="255"/>
          <ac:graphicFrameMkLst>
            <pc:docMk/>
            <pc:sldMk cId="3709478248" sldId="510"/>
            <ac:graphicFrameMk id="4" creationId="{AC3EF502-386F-00D5-BE7F-60D4DF7072A4}"/>
          </ac:graphicFrameMkLst>
        </pc:graphicFrameChg>
      </pc:sldChg>
      <pc:sldChg chg="addSp delSp modSp add mod">
        <pc:chgData name="Karim Lourimi" userId="e4a486d6-35e1-4ebe-aa1e-805a37c1b4fb" providerId="ADAL" clId="{3A29C054-4310-4435-BFB6-8CB46C4C7DE2}" dt="2022-12-14T15:12:43.407" v="11503" actId="20577"/>
        <pc:sldMkLst>
          <pc:docMk/>
          <pc:sldMk cId="527062573" sldId="511"/>
        </pc:sldMkLst>
        <pc:spChg chg="add del">
          <ac:chgData name="Karim Lourimi" userId="e4a486d6-35e1-4ebe-aa1e-805a37c1b4fb" providerId="ADAL" clId="{3A29C054-4310-4435-BFB6-8CB46C4C7DE2}" dt="2022-12-14T15:10:56.266" v="11458" actId="478"/>
          <ac:spMkLst>
            <pc:docMk/>
            <pc:sldMk cId="527062573" sldId="511"/>
            <ac:spMk id="5" creationId="{898E24A1-CD0F-4AE4-9A38-DC207EE8657A}"/>
          </ac:spMkLst>
        </pc:spChg>
        <pc:spChg chg="add mod">
          <ac:chgData name="Karim Lourimi" userId="e4a486d6-35e1-4ebe-aa1e-805a37c1b4fb" providerId="ADAL" clId="{3A29C054-4310-4435-BFB6-8CB46C4C7DE2}" dt="2022-12-14T15:11:08.179" v="11479" actId="1036"/>
          <ac:spMkLst>
            <pc:docMk/>
            <pc:sldMk cId="527062573" sldId="511"/>
            <ac:spMk id="11" creationId="{FB05CD30-A7FC-2742-1D11-D4F98F5C10CD}"/>
          </ac:spMkLst>
        </pc:spChg>
        <pc:spChg chg="add mod">
          <ac:chgData name="Karim Lourimi" userId="e4a486d6-35e1-4ebe-aa1e-805a37c1b4fb" providerId="ADAL" clId="{3A29C054-4310-4435-BFB6-8CB46C4C7DE2}" dt="2022-12-14T15:11:08.179" v="11479" actId="1036"/>
          <ac:spMkLst>
            <pc:docMk/>
            <pc:sldMk cId="527062573" sldId="511"/>
            <ac:spMk id="12" creationId="{99FED4B7-7A5A-F171-E044-6BD0A88C42CC}"/>
          </ac:spMkLst>
        </pc:spChg>
        <pc:spChg chg="add mod">
          <ac:chgData name="Karim Lourimi" userId="e4a486d6-35e1-4ebe-aa1e-805a37c1b4fb" providerId="ADAL" clId="{3A29C054-4310-4435-BFB6-8CB46C4C7DE2}" dt="2022-12-14T15:11:08.179" v="11479" actId="1036"/>
          <ac:spMkLst>
            <pc:docMk/>
            <pc:sldMk cId="527062573" sldId="511"/>
            <ac:spMk id="13" creationId="{5F925A5C-EEB1-0A86-AA17-39D9D516EBE5}"/>
          </ac:spMkLst>
        </pc:spChg>
        <pc:spChg chg="add mod">
          <ac:chgData name="Karim Lourimi" userId="e4a486d6-35e1-4ebe-aa1e-805a37c1b4fb" providerId="ADAL" clId="{3A29C054-4310-4435-BFB6-8CB46C4C7DE2}" dt="2022-12-14T15:11:08.179" v="11479" actId="1036"/>
          <ac:spMkLst>
            <pc:docMk/>
            <pc:sldMk cId="527062573" sldId="511"/>
            <ac:spMk id="14" creationId="{6FC1A827-5CF6-EB79-CC95-DC5E8ADD654E}"/>
          </ac:spMkLst>
        </pc:spChg>
        <pc:spChg chg="add mod">
          <ac:chgData name="Karim Lourimi" userId="e4a486d6-35e1-4ebe-aa1e-805a37c1b4fb" providerId="ADAL" clId="{3A29C054-4310-4435-BFB6-8CB46C4C7DE2}" dt="2022-12-14T15:11:08.179" v="11479" actId="1036"/>
          <ac:spMkLst>
            <pc:docMk/>
            <pc:sldMk cId="527062573" sldId="511"/>
            <ac:spMk id="15" creationId="{B37F13A7-B99B-9A33-4A03-CCD91CC27B04}"/>
          </ac:spMkLst>
        </pc:spChg>
        <pc:spChg chg="add mod">
          <ac:chgData name="Karim Lourimi" userId="e4a486d6-35e1-4ebe-aa1e-805a37c1b4fb" providerId="ADAL" clId="{3A29C054-4310-4435-BFB6-8CB46C4C7DE2}" dt="2022-12-14T15:11:08.179" v="11479" actId="1036"/>
          <ac:spMkLst>
            <pc:docMk/>
            <pc:sldMk cId="527062573" sldId="511"/>
            <ac:spMk id="18" creationId="{560C6FB2-5C95-C250-7F27-A17A77F97D5D}"/>
          </ac:spMkLst>
        </pc:spChg>
        <pc:spChg chg="add mod">
          <ac:chgData name="Karim Lourimi" userId="e4a486d6-35e1-4ebe-aa1e-805a37c1b4fb" providerId="ADAL" clId="{3A29C054-4310-4435-BFB6-8CB46C4C7DE2}" dt="2022-12-14T15:11:08.179" v="11479" actId="1036"/>
          <ac:spMkLst>
            <pc:docMk/>
            <pc:sldMk cId="527062573" sldId="511"/>
            <ac:spMk id="31" creationId="{0386A542-792B-501C-BE80-44A0B945A1E9}"/>
          </ac:spMkLst>
        </pc:spChg>
        <pc:spChg chg="add mod">
          <ac:chgData name="Karim Lourimi" userId="e4a486d6-35e1-4ebe-aa1e-805a37c1b4fb" providerId="ADAL" clId="{3A29C054-4310-4435-BFB6-8CB46C4C7DE2}" dt="2022-12-14T15:11:08.179" v="11479" actId="1036"/>
          <ac:spMkLst>
            <pc:docMk/>
            <pc:sldMk cId="527062573" sldId="511"/>
            <ac:spMk id="33" creationId="{56325D07-56DC-590F-23B1-17D7C324D786}"/>
          </ac:spMkLst>
        </pc:spChg>
        <pc:spChg chg="add mod">
          <ac:chgData name="Karim Lourimi" userId="e4a486d6-35e1-4ebe-aa1e-805a37c1b4fb" providerId="ADAL" clId="{3A29C054-4310-4435-BFB6-8CB46C4C7DE2}" dt="2022-12-14T15:11:08.179" v="11479" actId="1036"/>
          <ac:spMkLst>
            <pc:docMk/>
            <pc:sldMk cId="527062573" sldId="511"/>
            <ac:spMk id="34" creationId="{A659906B-B5D0-D117-622A-52F4DDEBD6AC}"/>
          </ac:spMkLst>
        </pc:spChg>
        <pc:spChg chg="add mod">
          <ac:chgData name="Karim Lourimi" userId="e4a486d6-35e1-4ebe-aa1e-805a37c1b4fb" providerId="ADAL" clId="{3A29C054-4310-4435-BFB6-8CB46C4C7DE2}" dt="2022-12-14T15:11:08.179" v="11479" actId="1036"/>
          <ac:spMkLst>
            <pc:docMk/>
            <pc:sldMk cId="527062573" sldId="511"/>
            <ac:spMk id="37" creationId="{EE2589D7-93DA-9A8A-4AC5-522FF1AF3E64}"/>
          </ac:spMkLst>
        </pc:spChg>
        <pc:spChg chg="add mod">
          <ac:chgData name="Karim Lourimi" userId="e4a486d6-35e1-4ebe-aa1e-805a37c1b4fb" providerId="ADAL" clId="{3A29C054-4310-4435-BFB6-8CB46C4C7DE2}" dt="2022-12-14T15:11:08.179" v="11479" actId="1036"/>
          <ac:spMkLst>
            <pc:docMk/>
            <pc:sldMk cId="527062573" sldId="511"/>
            <ac:spMk id="38" creationId="{8F5D9768-36CD-D465-D883-D5707ACF4187}"/>
          </ac:spMkLst>
        </pc:spChg>
        <pc:spChg chg="add mod">
          <ac:chgData name="Karim Lourimi" userId="e4a486d6-35e1-4ebe-aa1e-805a37c1b4fb" providerId="ADAL" clId="{3A29C054-4310-4435-BFB6-8CB46C4C7DE2}" dt="2022-12-14T15:11:08.179" v="11479" actId="1036"/>
          <ac:spMkLst>
            <pc:docMk/>
            <pc:sldMk cId="527062573" sldId="511"/>
            <ac:spMk id="41" creationId="{8892DA8B-61D4-1D2E-155A-8449DFDF24A0}"/>
          </ac:spMkLst>
        </pc:spChg>
        <pc:spChg chg="add mod">
          <ac:chgData name="Karim Lourimi" userId="e4a486d6-35e1-4ebe-aa1e-805a37c1b4fb" providerId="ADAL" clId="{3A29C054-4310-4435-BFB6-8CB46C4C7DE2}" dt="2022-12-14T15:11:08.179" v="11479" actId="1036"/>
          <ac:spMkLst>
            <pc:docMk/>
            <pc:sldMk cId="527062573" sldId="511"/>
            <ac:spMk id="42" creationId="{675A8A10-3F37-23EC-49BA-797F1A02D8FF}"/>
          </ac:spMkLst>
        </pc:spChg>
        <pc:spChg chg="add mod">
          <ac:chgData name="Karim Lourimi" userId="e4a486d6-35e1-4ebe-aa1e-805a37c1b4fb" providerId="ADAL" clId="{3A29C054-4310-4435-BFB6-8CB46C4C7DE2}" dt="2022-12-14T15:11:08.179" v="11479" actId="1036"/>
          <ac:spMkLst>
            <pc:docMk/>
            <pc:sldMk cId="527062573" sldId="511"/>
            <ac:spMk id="47" creationId="{AC81D8BA-61FC-A02B-4D22-4D14EFA7373B}"/>
          </ac:spMkLst>
        </pc:spChg>
        <pc:spChg chg="add mod">
          <ac:chgData name="Karim Lourimi" userId="e4a486d6-35e1-4ebe-aa1e-805a37c1b4fb" providerId="ADAL" clId="{3A29C054-4310-4435-BFB6-8CB46C4C7DE2}" dt="2022-12-14T15:11:08.179" v="11479" actId="1036"/>
          <ac:spMkLst>
            <pc:docMk/>
            <pc:sldMk cId="527062573" sldId="511"/>
            <ac:spMk id="49" creationId="{230F6117-40BD-0BA0-94B9-04614A8D0ACB}"/>
          </ac:spMkLst>
        </pc:spChg>
        <pc:spChg chg="add mod">
          <ac:chgData name="Karim Lourimi" userId="e4a486d6-35e1-4ebe-aa1e-805a37c1b4fb" providerId="ADAL" clId="{3A29C054-4310-4435-BFB6-8CB46C4C7DE2}" dt="2022-12-14T15:11:08.179" v="11479" actId="1036"/>
          <ac:spMkLst>
            <pc:docMk/>
            <pc:sldMk cId="527062573" sldId="511"/>
            <ac:spMk id="52" creationId="{1D5922C5-248A-0696-81D4-9296EB6FE138}"/>
          </ac:spMkLst>
        </pc:spChg>
        <pc:spChg chg="add mod">
          <ac:chgData name="Karim Lourimi" userId="e4a486d6-35e1-4ebe-aa1e-805a37c1b4fb" providerId="ADAL" clId="{3A29C054-4310-4435-BFB6-8CB46C4C7DE2}" dt="2022-12-14T15:11:08.179" v="11479" actId="1036"/>
          <ac:spMkLst>
            <pc:docMk/>
            <pc:sldMk cId="527062573" sldId="511"/>
            <ac:spMk id="55" creationId="{34CEF8E3-5C2D-7CCB-C589-23971787CE30}"/>
          </ac:spMkLst>
        </pc:spChg>
        <pc:spChg chg="add mod">
          <ac:chgData name="Karim Lourimi" userId="e4a486d6-35e1-4ebe-aa1e-805a37c1b4fb" providerId="ADAL" clId="{3A29C054-4310-4435-BFB6-8CB46C4C7DE2}" dt="2022-12-14T15:11:08.179" v="11479" actId="1036"/>
          <ac:spMkLst>
            <pc:docMk/>
            <pc:sldMk cId="527062573" sldId="511"/>
            <ac:spMk id="58" creationId="{1C14AD64-F645-44D7-3AB9-B47C9188E32A}"/>
          </ac:spMkLst>
        </pc:spChg>
        <pc:spChg chg="add mod">
          <ac:chgData name="Karim Lourimi" userId="e4a486d6-35e1-4ebe-aa1e-805a37c1b4fb" providerId="ADAL" clId="{3A29C054-4310-4435-BFB6-8CB46C4C7DE2}" dt="2022-12-14T15:11:08.179" v="11479" actId="1036"/>
          <ac:spMkLst>
            <pc:docMk/>
            <pc:sldMk cId="527062573" sldId="511"/>
            <ac:spMk id="59" creationId="{863BBDCF-439E-C53D-07B2-B45F532BE70E}"/>
          </ac:spMkLst>
        </pc:spChg>
        <pc:spChg chg="add mod">
          <ac:chgData name="Karim Lourimi" userId="e4a486d6-35e1-4ebe-aa1e-805a37c1b4fb" providerId="ADAL" clId="{3A29C054-4310-4435-BFB6-8CB46C4C7DE2}" dt="2022-12-14T15:11:08.179" v="11479" actId="1036"/>
          <ac:spMkLst>
            <pc:docMk/>
            <pc:sldMk cId="527062573" sldId="511"/>
            <ac:spMk id="60" creationId="{E489AA17-A1D5-E67B-6CEC-287240A6700F}"/>
          </ac:spMkLst>
        </pc:spChg>
        <pc:spChg chg="add mod">
          <ac:chgData name="Karim Lourimi" userId="e4a486d6-35e1-4ebe-aa1e-805a37c1b4fb" providerId="ADAL" clId="{3A29C054-4310-4435-BFB6-8CB46C4C7DE2}" dt="2022-12-14T15:11:08.179" v="11479" actId="1036"/>
          <ac:spMkLst>
            <pc:docMk/>
            <pc:sldMk cId="527062573" sldId="511"/>
            <ac:spMk id="61" creationId="{63E895D7-1D7C-F26E-B15A-4601B9F915D1}"/>
          </ac:spMkLst>
        </pc:spChg>
        <pc:spChg chg="add mod">
          <ac:chgData name="Karim Lourimi" userId="e4a486d6-35e1-4ebe-aa1e-805a37c1b4fb" providerId="ADAL" clId="{3A29C054-4310-4435-BFB6-8CB46C4C7DE2}" dt="2022-12-14T15:11:08.179" v="11479" actId="1036"/>
          <ac:spMkLst>
            <pc:docMk/>
            <pc:sldMk cId="527062573" sldId="511"/>
            <ac:spMk id="64" creationId="{A988E12F-8409-F92D-7D16-7659176DF754}"/>
          </ac:spMkLst>
        </pc:spChg>
        <pc:spChg chg="add mod">
          <ac:chgData name="Karim Lourimi" userId="e4a486d6-35e1-4ebe-aa1e-805a37c1b4fb" providerId="ADAL" clId="{3A29C054-4310-4435-BFB6-8CB46C4C7DE2}" dt="2022-12-14T15:11:08.179" v="11479" actId="1036"/>
          <ac:spMkLst>
            <pc:docMk/>
            <pc:sldMk cId="527062573" sldId="511"/>
            <ac:spMk id="68" creationId="{C072E072-50CF-B4D3-FA1D-82590109E42B}"/>
          </ac:spMkLst>
        </pc:spChg>
        <pc:spChg chg="add mod">
          <ac:chgData name="Karim Lourimi" userId="e4a486d6-35e1-4ebe-aa1e-805a37c1b4fb" providerId="ADAL" clId="{3A29C054-4310-4435-BFB6-8CB46C4C7DE2}" dt="2022-12-14T15:11:08.179" v="11479" actId="1036"/>
          <ac:spMkLst>
            <pc:docMk/>
            <pc:sldMk cId="527062573" sldId="511"/>
            <ac:spMk id="69" creationId="{2A4B6AC9-BA4A-9E49-98E1-39EE3A61DD94}"/>
          </ac:spMkLst>
        </pc:spChg>
        <pc:spChg chg="add mod">
          <ac:chgData name="Karim Lourimi" userId="e4a486d6-35e1-4ebe-aa1e-805a37c1b4fb" providerId="ADAL" clId="{3A29C054-4310-4435-BFB6-8CB46C4C7DE2}" dt="2022-12-14T15:11:08.179" v="11479" actId="1036"/>
          <ac:spMkLst>
            <pc:docMk/>
            <pc:sldMk cId="527062573" sldId="511"/>
            <ac:spMk id="70" creationId="{21FE2D27-FE3E-8A33-CB06-75C9E5406523}"/>
          </ac:spMkLst>
        </pc:spChg>
        <pc:spChg chg="add mod">
          <ac:chgData name="Karim Lourimi" userId="e4a486d6-35e1-4ebe-aa1e-805a37c1b4fb" providerId="ADAL" clId="{3A29C054-4310-4435-BFB6-8CB46C4C7DE2}" dt="2022-12-14T15:11:08.179" v="11479" actId="1036"/>
          <ac:spMkLst>
            <pc:docMk/>
            <pc:sldMk cId="527062573" sldId="511"/>
            <ac:spMk id="71" creationId="{F4E5CD80-E7A1-B6E7-842A-E5AD30F92D6D}"/>
          </ac:spMkLst>
        </pc:spChg>
        <pc:spChg chg="add mod">
          <ac:chgData name="Karim Lourimi" userId="e4a486d6-35e1-4ebe-aa1e-805a37c1b4fb" providerId="ADAL" clId="{3A29C054-4310-4435-BFB6-8CB46C4C7DE2}" dt="2022-12-14T15:11:08.179" v="11479" actId="1036"/>
          <ac:spMkLst>
            <pc:docMk/>
            <pc:sldMk cId="527062573" sldId="511"/>
            <ac:spMk id="72" creationId="{7317E420-CC3F-8545-0EA1-759A3FCBEE4D}"/>
          </ac:spMkLst>
        </pc:spChg>
        <pc:spChg chg="add mod">
          <ac:chgData name="Karim Lourimi" userId="e4a486d6-35e1-4ebe-aa1e-805a37c1b4fb" providerId="ADAL" clId="{3A29C054-4310-4435-BFB6-8CB46C4C7DE2}" dt="2022-12-14T15:11:08.179" v="11479" actId="1036"/>
          <ac:spMkLst>
            <pc:docMk/>
            <pc:sldMk cId="527062573" sldId="511"/>
            <ac:spMk id="73" creationId="{F21289F8-C0B1-E5D4-D660-A614CEFE068A}"/>
          </ac:spMkLst>
        </pc:spChg>
        <pc:spChg chg="add mod">
          <ac:chgData name="Karim Lourimi" userId="e4a486d6-35e1-4ebe-aa1e-805a37c1b4fb" providerId="ADAL" clId="{3A29C054-4310-4435-BFB6-8CB46C4C7DE2}" dt="2022-12-14T15:11:08.179" v="11479" actId="1036"/>
          <ac:spMkLst>
            <pc:docMk/>
            <pc:sldMk cId="527062573" sldId="511"/>
            <ac:spMk id="74" creationId="{1DFD62D8-02D8-4477-6D37-C19F5A8033D9}"/>
          </ac:spMkLst>
        </pc:spChg>
        <pc:spChg chg="add mod">
          <ac:chgData name="Karim Lourimi" userId="e4a486d6-35e1-4ebe-aa1e-805a37c1b4fb" providerId="ADAL" clId="{3A29C054-4310-4435-BFB6-8CB46C4C7DE2}" dt="2022-12-14T15:11:08.179" v="11479" actId="1036"/>
          <ac:spMkLst>
            <pc:docMk/>
            <pc:sldMk cId="527062573" sldId="511"/>
            <ac:spMk id="75" creationId="{309D7394-B326-99A0-6F4C-82A9DFEBDB57}"/>
          </ac:spMkLst>
        </pc:spChg>
        <pc:spChg chg="add mod">
          <ac:chgData name="Karim Lourimi" userId="e4a486d6-35e1-4ebe-aa1e-805a37c1b4fb" providerId="ADAL" clId="{3A29C054-4310-4435-BFB6-8CB46C4C7DE2}" dt="2022-12-14T15:11:08.179" v="11479" actId="1036"/>
          <ac:spMkLst>
            <pc:docMk/>
            <pc:sldMk cId="527062573" sldId="511"/>
            <ac:spMk id="76" creationId="{F1B52C92-B5BB-8809-900F-53BEFAB332C7}"/>
          </ac:spMkLst>
        </pc:spChg>
        <pc:spChg chg="add mod">
          <ac:chgData name="Karim Lourimi" userId="e4a486d6-35e1-4ebe-aa1e-805a37c1b4fb" providerId="ADAL" clId="{3A29C054-4310-4435-BFB6-8CB46C4C7DE2}" dt="2022-12-14T15:11:08.179" v="11479" actId="1036"/>
          <ac:spMkLst>
            <pc:docMk/>
            <pc:sldMk cId="527062573" sldId="511"/>
            <ac:spMk id="79" creationId="{7091471D-BD58-EE86-FE62-F999CE2E7DF4}"/>
          </ac:spMkLst>
        </pc:spChg>
        <pc:spChg chg="add mod">
          <ac:chgData name="Karim Lourimi" userId="e4a486d6-35e1-4ebe-aa1e-805a37c1b4fb" providerId="ADAL" clId="{3A29C054-4310-4435-BFB6-8CB46C4C7DE2}" dt="2022-12-14T15:11:08.179" v="11479" actId="1036"/>
          <ac:spMkLst>
            <pc:docMk/>
            <pc:sldMk cId="527062573" sldId="511"/>
            <ac:spMk id="80" creationId="{3F0C3EC8-09BC-C8CC-642E-E927C9E75863}"/>
          </ac:spMkLst>
        </pc:spChg>
        <pc:spChg chg="add mod">
          <ac:chgData name="Karim Lourimi" userId="e4a486d6-35e1-4ebe-aa1e-805a37c1b4fb" providerId="ADAL" clId="{3A29C054-4310-4435-BFB6-8CB46C4C7DE2}" dt="2022-12-14T15:11:08.179" v="11479" actId="1036"/>
          <ac:spMkLst>
            <pc:docMk/>
            <pc:sldMk cId="527062573" sldId="511"/>
            <ac:spMk id="81" creationId="{1427E5A9-65B5-2037-6305-80F2F9962F82}"/>
          </ac:spMkLst>
        </pc:spChg>
        <pc:spChg chg="add mod">
          <ac:chgData name="Karim Lourimi" userId="e4a486d6-35e1-4ebe-aa1e-805a37c1b4fb" providerId="ADAL" clId="{3A29C054-4310-4435-BFB6-8CB46C4C7DE2}" dt="2022-12-14T15:11:08.179" v="11479" actId="1036"/>
          <ac:spMkLst>
            <pc:docMk/>
            <pc:sldMk cId="527062573" sldId="511"/>
            <ac:spMk id="82" creationId="{BA07171F-E3D6-AE05-05CA-C93F360A614E}"/>
          </ac:spMkLst>
        </pc:spChg>
        <pc:spChg chg="add mod">
          <ac:chgData name="Karim Lourimi" userId="e4a486d6-35e1-4ebe-aa1e-805a37c1b4fb" providerId="ADAL" clId="{3A29C054-4310-4435-BFB6-8CB46C4C7DE2}" dt="2022-12-14T15:11:08.179" v="11479" actId="1036"/>
          <ac:spMkLst>
            <pc:docMk/>
            <pc:sldMk cId="527062573" sldId="511"/>
            <ac:spMk id="83" creationId="{ED2AAD7A-09AC-5E79-FB6B-4648312C54C6}"/>
          </ac:spMkLst>
        </pc:spChg>
        <pc:spChg chg="add mod">
          <ac:chgData name="Karim Lourimi" userId="e4a486d6-35e1-4ebe-aa1e-805a37c1b4fb" providerId="ADAL" clId="{3A29C054-4310-4435-BFB6-8CB46C4C7DE2}" dt="2022-12-14T15:11:08.179" v="11479" actId="1036"/>
          <ac:spMkLst>
            <pc:docMk/>
            <pc:sldMk cId="527062573" sldId="511"/>
            <ac:spMk id="84" creationId="{7B069573-755F-079E-928F-1F653684A7D6}"/>
          </ac:spMkLst>
        </pc:spChg>
        <pc:spChg chg="add mod">
          <ac:chgData name="Karim Lourimi" userId="e4a486d6-35e1-4ebe-aa1e-805a37c1b4fb" providerId="ADAL" clId="{3A29C054-4310-4435-BFB6-8CB46C4C7DE2}" dt="2022-12-14T15:11:08.179" v="11479" actId="1036"/>
          <ac:spMkLst>
            <pc:docMk/>
            <pc:sldMk cId="527062573" sldId="511"/>
            <ac:spMk id="85" creationId="{FC7F63DC-A5BF-1683-E417-6C864BF74DE6}"/>
          </ac:spMkLst>
        </pc:spChg>
        <pc:spChg chg="add mod">
          <ac:chgData name="Karim Lourimi" userId="e4a486d6-35e1-4ebe-aa1e-805a37c1b4fb" providerId="ADAL" clId="{3A29C054-4310-4435-BFB6-8CB46C4C7DE2}" dt="2022-12-14T15:11:08.179" v="11479" actId="1036"/>
          <ac:spMkLst>
            <pc:docMk/>
            <pc:sldMk cId="527062573" sldId="511"/>
            <ac:spMk id="86" creationId="{E9EF2155-47C2-9A2C-C0B0-49BCC1184B11}"/>
          </ac:spMkLst>
        </pc:spChg>
        <pc:spChg chg="add mod">
          <ac:chgData name="Karim Lourimi" userId="e4a486d6-35e1-4ebe-aa1e-805a37c1b4fb" providerId="ADAL" clId="{3A29C054-4310-4435-BFB6-8CB46C4C7DE2}" dt="2022-12-14T15:11:08.179" v="11479" actId="1036"/>
          <ac:spMkLst>
            <pc:docMk/>
            <pc:sldMk cId="527062573" sldId="511"/>
            <ac:spMk id="87" creationId="{7DAF50F5-1706-042A-C358-493360E5BF65}"/>
          </ac:spMkLst>
        </pc:spChg>
        <pc:spChg chg="add mod">
          <ac:chgData name="Karim Lourimi" userId="e4a486d6-35e1-4ebe-aa1e-805a37c1b4fb" providerId="ADAL" clId="{3A29C054-4310-4435-BFB6-8CB46C4C7DE2}" dt="2022-12-14T15:11:08.179" v="11479" actId="1036"/>
          <ac:spMkLst>
            <pc:docMk/>
            <pc:sldMk cId="527062573" sldId="511"/>
            <ac:spMk id="89" creationId="{59B7BFA8-D3D7-CC8A-8B3A-AC83C5C214CB}"/>
          </ac:spMkLst>
        </pc:spChg>
        <pc:spChg chg="add mod">
          <ac:chgData name="Karim Lourimi" userId="e4a486d6-35e1-4ebe-aa1e-805a37c1b4fb" providerId="ADAL" clId="{3A29C054-4310-4435-BFB6-8CB46C4C7DE2}" dt="2022-12-14T15:11:08.179" v="11479" actId="1036"/>
          <ac:spMkLst>
            <pc:docMk/>
            <pc:sldMk cId="527062573" sldId="511"/>
            <ac:spMk id="93" creationId="{71600843-DED9-09AE-4761-B63B0932D896}"/>
          </ac:spMkLst>
        </pc:spChg>
        <pc:spChg chg="add mod">
          <ac:chgData name="Karim Lourimi" userId="e4a486d6-35e1-4ebe-aa1e-805a37c1b4fb" providerId="ADAL" clId="{3A29C054-4310-4435-BFB6-8CB46C4C7DE2}" dt="2022-12-14T15:11:08.179" v="11479" actId="1036"/>
          <ac:spMkLst>
            <pc:docMk/>
            <pc:sldMk cId="527062573" sldId="511"/>
            <ac:spMk id="94" creationId="{9989C339-2B65-C0FF-475E-2292D0477442}"/>
          </ac:spMkLst>
        </pc:spChg>
        <pc:spChg chg="add mod">
          <ac:chgData name="Karim Lourimi" userId="e4a486d6-35e1-4ebe-aa1e-805a37c1b4fb" providerId="ADAL" clId="{3A29C054-4310-4435-BFB6-8CB46C4C7DE2}" dt="2022-12-14T15:11:08.179" v="11479" actId="1036"/>
          <ac:spMkLst>
            <pc:docMk/>
            <pc:sldMk cId="527062573" sldId="511"/>
            <ac:spMk id="101" creationId="{0681AF83-A186-4F90-8B80-520A83FF2E45}"/>
          </ac:spMkLst>
        </pc:spChg>
        <pc:spChg chg="add mod">
          <ac:chgData name="Karim Lourimi" userId="e4a486d6-35e1-4ebe-aa1e-805a37c1b4fb" providerId="ADAL" clId="{3A29C054-4310-4435-BFB6-8CB46C4C7DE2}" dt="2022-12-14T15:11:08.179" v="11479" actId="1036"/>
          <ac:spMkLst>
            <pc:docMk/>
            <pc:sldMk cId="527062573" sldId="511"/>
            <ac:spMk id="103" creationId="{3FD6AB7E-D7FA-9F3D-29E9-538C9B42E150}"/>
          </ac:spMkLst>
        </pc:spChg>
        <pc:spChg chg="add mod">
          <ac:chgData name="Karim Lourimi" userId="e4a486d6-35e1-4ebe-aa1e-805a37c1b4fb" providerId="ADAL" clId="{3A29C054-4310-4435-BFB6-8CB46C4C7DE2}" dt="2022-12-14T15:12:43.407" v="11503" actId="20577"/>
          <ac:spMkLst>
            <pc:docMk/>
            <pc:sldMk cId="527062573" sldId="511"/>
            <ac:spMk id="104" creationId="{88016BF3-57F0-5E03-623D-C5E8579582F4}"/>
          </ac:spMkLst>
        </pc:spChg>
        <pc:spChg chg="add mod">
          <ac:chgData name="Karim Lourimi" userId="e4a486d6-35e1-4ebe-aa1e-805a37c1b4fb" providerId="ADAL" clId="{3A29C054-4310-4435-BFB6-8CB46C4C7DE2}" dt="2022-12-14T15:11:08.179" v="11479" actId="1036"/>
          <ac:spMkLst>
            <pc:docMk/>
            <pc:sldMk cId="527062573" sldId="511"/>
            <ac:spMk id="105" creationId="{39D14E17-DBD3-952D-2996-30310CBAA6B4}"/>
          </ac:spMkLst>
        </pc:spChg>
        <pc:spChg chg="add mod">
          <ac:chgData name="Karim Lourimi" userId="e4a486d6-35e1-4ebe-aa1e-805a37c1b4fb" providerId="ADAL" clId="{3A29C054-4310-4435-BFB6-8CB46C4C7DE2}" dt="2022-12-14T15:11:08.179" v="11479" actId="1036"/>
          <ac:spMkLst>
            <pc:docMk/>
            <pc:sldMk cId="527062573" sldId="511"/>
            <ac:spMk id="106" creationId="{56972243-558A-4E94-60C2-CEC89CB71D39}"/>
          </ac:spMkLst>
        </pc:spChg>
        <pc:graphicFrameChg chg="del">
          <ac:chgData name="Karim Lourimi" userId="e4a486d6-35e1-4ebe-aa1e-805a37c1b4fb" providerId="ADAL" clId="{3A29C054-4310-4435-BFB6-8CB46C4C7DE2}" dt="2022-12-14T15:03:46.141" v="11456" actId="478"/>
          <ac:graphicFrameMkLst>
            <pc:docMk/>
            <pc:sldMk cId="527062573" sldId="511"/>
            <ac:graphicFrameMk id="3" creationId="{E1058F4D-EF9D-A419-D178-2ED0636829D9}"/>
          </ac:graphicFrameMkLst>
        </pc:graphicFrameChg>
        <pc:picChg chg="add mod">
          <ac:chgData name="Karim Lourimi" userId="e4a486d6-35e1-4ebe-aa1e-805a37c1b4fb" providerId="ADAL" clId="{3A29C054-4310-4435-BFB6-8CB46C4C7DE2}" dt="2022-12-14T15:11:08.179" v="11479" actId="1036"/>
          <ac:picMkLst>
            <pc:docMk/>
            <pc:sldMk cId="527062573" sldId="511"/>
            <ac:picMk id="16" creationId="{4318B374-2E89-3444-123F-DE801960BCDB}"/>
          </ac:picMkLst>
        </pc:picChg>
        <pc:picChg chg="add mod">
          <ac:chgData name="Karim Lourimi" userId="e4a486d6-35e1-4ebe-aa1e-805a37c1b4fb" providerId="ADAL" clId="{3A29C054-4310-4435-BFB6-8CB46C4C7DE2}" dt="2022-12-14T15:11:08.179" v="11479" actId="1036"/>
          <ac:picMkLst>
            <pc:docMk/>
            <pc:sldMk cId="527062573" sldId="511"/>
            <ac:picMk id="17" creationId="{BEF7F690-B709-A199-D7E9-C81BA1763592}"/>
          </ac:picMkLst>
        </pc:picChg>
        <pc:picChg chg="add mod">
          <ac:chgData name="Karim Lourimi" userId="e4a486d6-35e1-4ebe-aa1e-805a37c1b4fb" providerId="ADAL" clId="{3A29C054-4310-4435-BFB6-8CB46C4C7DE2}" dt="2022-12-14T15:11:08.179" v="11479" actId="1036"/>
          <ac:picMkLst>
            <pc:docMk/>
            <pc:sldMk cId="527062573" sldId="511"/>
            <ac:picMk id="19" creationId="{26E68031-385F-2E4C-3AAD-9FB02B615DD8}"/>
          </ac:picMkLst>
        </pc:picChg>
        <pc:picChg chg="add mod">
          <ac:chgData name="Karim Lourimi" userId="e4a486d6-35e1-4ebe-aa1e-805a37c1b4fb" providerId="ADAL" clId="{3A29C054-4310-4435-BFB6-8CB46C4C7DE2}" dt="2022-12-14T15:11:08.179" v="11479" actId="1036"/>
          <ac:picMkLst>
            <pc:docMk/>
            <pc:sldMk cId="527062573" sldId="511"/>
            <ac:picMk id="25" creationId="{3F8C6165-85D2-8628-4232-9B15FE98F2EA}"/>
          </ac:picMkLst>
        </pc:picChg>
        <pc:picChg chg="add mod">
          <ac:chgData name="Karim Lourimi" userId="e4a486d6-35e1-4ebe-aa1e-805a37c1b4fb" providerId="ADAL" clId="{3A29C054-4310-4435-BFB6-8CB46C4C7DE2}" dt="2022-12-14T15:11:08.179" v="11479" actId="1036"/>
          <ac:picMkLst>
            <pc:docMk/>
            <pc:sldMk cId="527062573" sldId="511"/>
            <ac:picMk id="26" creationId="{50F58789-5EE8-A626-6D16-D99F14BC30F8}"/>
          </ac:picMkLst>
        </pc:picChg>
        <pc:picChg chg="add mod">
          <ac:chgData name="Karim Lourimi" userId="e4a486d6-35e1-4ebe-aa1e-805a37c1b4fb" providerId="ADAL" clId="{3A29C054-4310-4435-BFB6-8CB46C4C7DE2}" dt="2022-12-14T15:11:08.179" v="11479" actId="1036"/>
          <ac:picMkLst>
            <pc:docMk/>
            <pc:sldMk cId="527062573" sldId="511"/>
            <ac:picMk id="27" creationId="{81CA8096-AAB9-8CDE-C5E1-29D44EE515AD}"/>
          </ac:picMkLst>
        </pc:picChg>
        <pc:picChg chg="add mod">
          <ac:chgData name="Karim Lourimi" userId="e4a486d6-35e1-4ebe-aa1e-805a37c1b4fb" providerId="ADAL" clId="{3A29C054-4310-4435-BFB6-8CB46C4C7DE2}" dt="2022-12-14T15:11:08.179" v="11479" actId="1036"/>
          <ac:picMkLst>
            <pc:docMk/>
            <pc:sldMk cId="527062573" sldId="511"/>
            <ac:picMk id="28" creationId="{9E3D2DD6-EB76-A6AB-61D2-BEE6FDC897F3}"/>
          </ac:picMkLst>
        </pc:picChg>
        <pc:picChg chg="add mod">
          <ac:chgData name="Karim Lourimi" userId="e4a486d6-35e1-4ebe-aa1e-805a37c1b4fb" providerId="ADAL" clId="{3A29C054-4310-4435-BFB6-8CB46C4C7DE2}" dt="2022-12-14T15:11:08.179" v="11479" actId="1036"/>
          <ac:picMkLst>
            <pc:docMk/>
            <pc:sldMk cId="527062573" sldId="511"/>
            <ac:picMk id="29" creationId="{DB314DF9-400D-A69D-F56E-823E13A8FAD2}"/>
          </ac:picMkLst>
        </pc:picChg>
        <pc:picChg chg="add mod">
          <ac:chgData name="Karim Lourimi" userId="e4a486d6-35e1-4ebe-aa1e-805a37c1b4fb" providerId="ADAL" clId="{3A29C054-4310-4435-BFB6-8CB46C4C7DE2}" dt="2022-12-14T15:11:08.179" v="11479" actId="1036"/>
          <ac:picMkLst>
            <pc:docMk/>
            <pc:sldMk cId="527062573" sldId="511"/>
            <ac:picMk id="36" creationId="{1FB492A0-8084-195F-CBA4-1DCEC20FB3EC}"/>
          </ac:picMkLst>
        </pc:picChg>
        <pc:picChg chg="add mod">
          <ac:chgData name="Karim Lourimi" userId="e4a486d6-35e1-4ebe-aa1e-805a37c1b4fb" providerId="ADAL" clId="{3A29C054-4310-4435-BFB6-8CB46C4C7DE2}" dt="2022-12-14T15:11:08.179" v="11479" actId="1036"/>
          <ac:picMkLst>
            <pc:docMk/>
            <pc:sldMk cId="527062573" sldId="511"/>
            <ac:picMk id="39" creationId="{0770C62B-9FCD-31C8-9122-BA0B949ED03F}"/>
          </ac:picMkLst>
        </pc:picChg>
        <pc:picChg chg="add mod">
          <ac:chgData name="Karim Lourimi" userId="e4a486d6-35e1-4ebe-aa1e-805a37c1b4fb" providerId="ADAL" clId="{3A29C054-4310-4435-BFB6-8CB46C4C7DE2}" dt="2022-12-14T15:11:08.179" v="11479" actId="1036"/>
          <ac:picMkLst>
            <pc:docMk/>
            <pc:sldMk cId="527062573" sldId="511"/>
            <ac:picMk id="40" creationId="{5F5C0FE8-20FD-E986-8902-506D07B65DAE}"/>
          </ac:picMkLst>
        </pc:picChg>
        <pc:picChg chg="add mod">
          <ac:chgData name="Karim Lourimi" userId="e4a486d6-35e1-4ebe-aa1e-805a37c1b4fb" providerId="ADAL" clId="{3A29C054-4310-4435-BFB6-8CB46C4C7DE2}" dt="2022-12-14T15:11:08.179" v="11479" actId="1036"/>
          <ac:picMkLst>
            <pc:docMk/>
            <pc:sldMk cId="527062573" sldId="511"/>
            <ac:picMk id="48" creationId="{07488AC1-B957-5D0F-E2F7-FD53FFA89CAE}"/>
          </ac:picMkLst>
        </pc:picChg>
        <pc:picChg chg="add mod">
          <ac:chgData name="Karim Lourimi" userId="e4a486d6-35e1-4ebe-aa1e-805a37c1b4fb" providerId="ADAL" clId="{3A29C054-4310-4435-BFB6-8CB46C4C7DE2}" dt="2022-12-14T15:11:08.179" v="11479" actId="1036"/>
          <ac:picMkLst>
            <pc:docMk/>
            <pc:sldMk cId="527062573" sldId="511"/>
            <ac:picMk id="51" creationId="{9D735177-15B6-65E5-254C-9732B16FE036}"/>
          </ac:picMkLst>
        </pc:picChg>
        <pc:picChg chg="add mod">
          <ac:chgData name="Karim Lourimi" userId="e4a486d6-35e1-4ebe-aa1e-805a37c1b4fb" providerId="ADAL" clId="{3A29C054-4310-4435-BFB6-8CB46C4C7DE2}" dt="2022-12-14T15:11:08.179" v="11479" actId="1036"/>
          <ac:picMkLst>
            <pc:docMk/>
            <pc:sldMk cId="527062573" sldId="511"/>
            <ac:picMk id="54" creationId="{D2B950D0-375D-B941-B862-3B8E63FC391F}"/>
          </ac:picMkLst>
        </pc:picChg>
        <pc:picChg chg="add mod">
          <ac:chgData name="Karim Lourimi" userId="e4a486d6-35e1-4ebe-aa1e-805a37c1b4fb" providerId="ADAL" clId="{3A29C054-4310-4435-BFB6-8CB46C4C7DE2}" dt="2022-12-14T15:11:08.179" v="11479" actId="1036"/>
          <ac:picMkLst>
            <pc:docMk/>
            <pc:sldMk cId="527062573" sldId="511"/>
            <ac:picMk id="63" creationId="{DD7D7901-A84E-3E2A-A90D-03AF75EEA816}"/>
          </ac:picMkLst>
        </pc:picChg>
        <pc:picChg chg="add mod">
          <ac:chgData name="Karim Lourimi" userId="e4a486d6-35e1-4ebe-aa1e-805a37c1b4fb" providerId="ADAL" clId="{3A29C054-4310-4435-BFB6-8CB46C4C7DE2}" dt="2022-12-14T15:11:08.179" v="11479" actId="1036"/>
          <ac:picMkLst>
            <pc:docMk/>
            <pc:sldMk cId="527062573" sldId="511"/>
            <ac:picMk id="95" creationId="{45DF7166-6915-CDA3-39EE-83BA7B353CD5}"/>
          </ac:picMkLst>
        </pc:picChg>
        <pc:picChg chg="add mod">
          <ac:chgData name="Karim Lourimi" userId="e4a486d6-35e1-4ebe-aa1e-805a37c1b4fb" providerId="ADAL" clId="{3A29C054-4310-4435-BFB6-8CB46C4C7DE2}" dt="2022-12-14T15:11:08.179" v="11479" actId="1036"/>
          <ac:picMkLst>
            <pc:docMk/>
            <pc:sldMk cId="527062573" sldId="511"/>
            <ac:picMk id="113" creationId="{6E0BCF0A-7A8C-F419-170A-CEF653A796D5}"/>
          </ac:picMkLst>
        </pc:picChg>
        <pc:cxnChg chg="add mod">
          <ac:chgData name="Karim Lourimi" userId="e4a486d6-35e1-4ebe-aa1e-805a37c1b4fb" providerId="ADAL" clId="{3A29C054-4310-4435-BFB6-8CB46C4C7DE2}" dt="2022-12-14T15:11:08.179" v="11479" actId="1036"/>
          <ac:cxnSpMkLst>
            <pc:docMk/>
            <pc:sldMk cId="527062573" sldId="511"/>
            <ac:cxnSpMk id="6" creationId="{FC38D4F4-43C6-2E12-CA76-4A9961807125}"/>
          </ac:cxnSpMkLst>
        </pc:cxnChg>
        <pc:cxnChg chg="add mod">
          <ac:chgData name="Karim Lourimi" userId="e4a486d6-35e1-4ebe-aa1e-805a37c1b4fb" providerId="ADAL" clId="{3A29C054-4310-4435-BFB6-8CB46C4C7DE2}" dt="2022-12-14T15:11:08.179" v="11479" actId="1036"/>
          <ac:cxnSpMkLst>
            <pc:docMk/>
            <pc:sldMk cId="527062573" sldId="511"/>
            <ac:cxnSpMk id="8" creationId="{2E4CF699-C7A2-865F-F076-ACCF017E19BF}"/>
          </ac:cxnSpMkLst>
        </pc:cxnChg>
        <pc:cxnChg chg="add mod">
          <ac:chgData name="Karim Lourimi" userId="e4a486d6-35e1-4ebe-aa1e-805a37c1b4fb" providerId="ADAL" clId="{3A29C054-4310-4435-BFB6-8CB46C4C7DE2}" dt="2022-12-14T15:11:08.179" v="11479" actId="1036"/>
          <ac:cxnSpMkLst>
            <pc:docMk/>
            <pc:sldMk cId="527062573" sldId="511"/>
            <ac:cxnSpMk id="9" creationId="{00DC3E6F-B67E-5D5F-F476-0669CC36D2C3}"/>
          </ac:cxnSpMkLst>
        </pc:cxnChg>
        <pc:cxnChg chg="add mod">
          <ac:chgData name="Karim Lourimi" userId="e4a486d6-35e1-4ebe-aa1e-805a37c1b4fb" providerId="ADAL" clId="{3A29C054-4310-4435-BFB6-8CB46C4C7DE2}" dt="2022-12-14T15:11:08.179" v="11479" actId="1036"/>
          <ac:cxnSpMkLst>
            <pc:docMk/>
            <pc:sldMk cId="527062573" sldId="511"/>
            <ac:cxnSpMk id="10" creationId="{F89FB6BD-A555-BD69-C37F-9D39F6667B08}"/>
          </ac:cxnSpMkLst>
        </pc:cxnChg>
        <pc:cxnChg chg="add mod">
          <ac:chgData name="Karim Lourimi" userId="e4a486d6-35e1-4ebe-aa1e-805a37c1b4fb" providerId="ADAL" clId="{3A29C054-4310-4435-BFB6-8CB46C4C7DE2}" dt="2022-12-14T15:11:08.179" v="11479" actId="1036"/>
          <ac:cxnSpMkLst>
            <pc:docMk/>
            <pc:sldMk cId="527062573" sldId="511"/>
            <ac:cxnSpMk id="30" creationId="{6815949E-64D0-E3E0-D878-B5390734F1B3}"/>
          </ac:cxnSpMkLst>
        </pc:cxnChg>
        <pc:cxnChg chg="add mod">
          <ac:chgData name="Karim Lourimi" userId="e4a486d6-35e1-4ebe-aa1e-805a37c1b4fb" providerId="ADAL" clId="{3A29C054-4310-4435-BFB6-8CB46C4C7DE2}" dt="2022-12-14T15:11:08.179" v="11479" actId="1036"/>
          <ac:cxnSpMkLst>
            <pc:docMk/>
            <pc:sldMk cId="527062573" sldId="511"/>
            <ac:cxnSpMk id="32" creationId="{093000D3-42EB-43A6-8F69-0A2B67968BD6}"/>
          </ac:cxnSpMkLst>
        </pc:cxnChg>
        <pc:cxnChg chg="add mod">
          <ac:chgData name="Karim Lourimi" userId="e4a486d6-35e1-4ebe-aa1e-805a37c1b4fb" providerId="ADAL" clId="{3A29C054-4310-4435-BFB6-8CB46C4C7DE2}" dt="2022-12-14T15:11:08.179" v="11479" actId="1036"/>
          <ac:cxnSpMkLst>
            <pc:docMk/>
            <pc:sldMk cId="527062573" sldId="511"/>
            <ac:cxnSpMk id="35" creationId="{4F2ACC56-6E6D-DDEF-F350-9AA4641694B3}"/>
          </ac:cxnSpMkLst>
        </pc:cxnChg>
        <pc:cxnChg chg="add mod">
          <ac:chgData name="Karim Lourimi" userId="e4a486d6-35e1-4ebe-aa1e-805a37c1b4fb" providerId="ADAL" clId="{3A29C054-4310-4435-BFB6-8CB46C4C7DE2}" dt="2022-12-14T15:11:08.179" v="11479" actId="1036"/>
          <ac:cxnSpMkLst>
            <pc:docMk/>
            <pc:sldMk cId="527062573" sldId="511"/>
            <ac:cxnSpMk id="43" creationId="{D2BD25CF-C86D-B954-EFCA-8484153B1FF5}"/>
          </ac:cxnSpMkLst>
        </pc:cxnChg>
        <pc:cxnChg chg="add mod">
          <ac:chgData name="Karim Lourimi" userId="e4a486d6-35e1-4ebe-aa1e-805a37c1b4fb" providerId="ADAL" clId="{3A29C054-4310-4435-BFB6-8CB46C4C7DE2}" dt="2022-12-14T15:11:08.179" v="11479" actId="1036"/>
          <ac:cxnSpMkLst>
            <pc:docMk/>
            <pc:sldMk cId="527062573" sldId="511"/>
            <ac:cxnSpMk id="44" creationId="{A223A555-9CAF-638D-B4ED-E06513C6C17A}"/>
          </ac:cxnSpMkLst>
        </pc:cxnChg>
        <pc:cxnChg chg="add mod">
          <ac:chgData name="Karim Lourimi" userId="e4a486d6-35e1-4ebe-aa1e-805a37c1b4fb" providerId="ADAL" clId="{3A29C054-4310-4435-BFB6-8CB46C4C7DE2}" dt="2022-12-14T15:11:08.179" v="11479" actId="1036"/>
          <ac:cxnSpMkLst>
            <pc:docMk/>
            <pc:sldMk cId="527062573" sldId="511"/>
            <ac:cxnSpMk id="45" creationId="{BAB4F816-17E0-29A2-F70F-78E2EB5B89BF}"/>
          </ac:cxnSpMkLst>
        </pc:cxnChg>
        <pc:cxnChg chg="add mod">
          <ac:chgData name="Karim Lourimi" userId="e4a486d6-35e1-4ebe-aa1e-805a37c1b4fb" providerId="ADAL" clId="{3A29C054-4310-4435-BFB6-8CB46C4C7DE2}" dt="2022-12-14T15:11:08.179" v="11479" actId="1036"/>
          <ac:cxnSpMkLst>
            <pc:docMk/>
            <pc:sldMk cId="527062573" sldId="511"/>
            <ac:cxnSpMk id="46" creationId="{2DACE3E4-5896-36F1-C05D-EDC93788015C}"/>
          </ac:cxnSpMkLst>
        </pc:cxnChg>
        <pc:cxnChg chg="add mod">
          <ac:chgData name="Karim Lourimi" userId="e4a486d6-35e1-4ebe-aa1e-805a37c1b4fb" providerId="ADAL" clId="{3A29C054-4310-4435-BFB6-8CB46C4C7DE2}" dt="2022-12-14T15:11:08.179" v="11479" actId="1036"/>
          <ac:cxnSpMkLst>
            <pc:docMk/>
            <pc:sldMk cId="527062573" sldId="511"/>
            <ac:cxnSpMk id="50" creationId="{9467D860-61B5-5A97-0C18-6FE7D1319B42}"/>
          </ac:cxnSpMkLst>
        </pc:cxnChg>
        <pc:cxnChg chg="add mod">
          <ac:chgData name="Karim Lourimi" userId="e4a486d6-35e1-4ebe-aa1e-805a37c1b4fb" providerId="ADAL" clId="{3A29C054-4310-4435-BFB6-8CB46C4C7DE2}" dt="2022-12-14T15:11:08.179" v="11479" actId="1036"/>
          <ac:cxnSpMkLst>
            <pc:docMk/>
            <pc:sldMk cId="527062573" sldId="511"/>
            <ac:cxnSpMk id="53" creationId="{2E982571-C373-C4EA-F9D9-3AE24FC9FC9B}"/>
          </ac:cxnSpMkLst>
        </pc:cxnChg>
        <pc:cxnChg chg="add mod">
          <ac:chgData name="Karim Lourimi" userId="e4a486d6-35e1-4ebe-aa1e-805a37c1b4fb" providerId="ADAL" clId="{3A29C054-4310-4435-BFB6-8CB46C4C7DE2}" dt="2022-12-14T15:11:08.179" v="11479" actId="1036"/>
          <ac:cxnSpMkLst>
            <pc:docMk/>
            <pc:sldMk cId="527062573" sldId="511"/>
            <ac:cxnSpMk id="56" creationId="{4005C6EC-25D3-E0B7-C836-84BA15D0094E}"/>
          </ac:cxnSpMkLst>
        </pc:cxnChg>
        <pc:cxnChg chg="add mod">
          <ac:chgData name="Karim Lourimi" userId="e4a486d6-35e1-4ebe-aa1e-805a37c1b4fb" providerId="ADAL" clId="{3A29C054-4310-4435-BFB6-8CB46C4C7DE2}" dt="2022-12-14T15:11:08.179" v="11479" actId="1036"/>
          <ac:cxnSpMkLst>
            <pc:docMk/>
            <pc:sldMk cId="527062573" sldId="511"/>
            <ac:cxnSpMk id="57" creationId="{B6DB320F-0A36-2D3A-FBCD-B8273ED80AFC}"/>
          </ac:cxnSpMkLst>
        </pc:cxnChg>
        <pc:cxnChg chg="add mod">
          <ac:chgData name="Karim Lourimi" userId="e4a486d6-35e1-4ebe-aa1e-805a37c1b4fb" providerId="ADAL" clId="{3A29C054-4310-4435-BFB6-8CB46C4C7DE2}" dt="2022-12-14T15:11:08.179" v="11479" actId="1036"/>
          <ac:cxnSpMkLst>
            <pc:docMk/>
            <pc:sldMk cId="527062573" sldId="511"/>
            <ac:cxnSpMk id="62" creationId="{60CAC42C-62A1-FEDC-F306-F38D3BD1027C}"/>
          </ac:cxnSpMkLst>
        </pc:cxnChg>
        <pc:cxnChg chg="add mod">
          <ac:chgData name="Karim Lourimi" userId="e4a486d6-35e1-4ebe-aa1e-805a37c1b4fb" providerId="ADAL" clId="{3A29C054-4310-4435-BFB6-8CB46C4C7DE2}" dt="2022-12-14T15:11:08.179" v="11479" actId="1036"/>
          <ac:cxnSpMkLst>
            <pc:docMk/>
            <pc:sldMk cId="527062573" sldId="511"/>
            <ac:cxnSpMk id="65" creationId="{F4B2A34F-08EE-A172-6056-E94E49E6A92C}"/>
          </ac:cxnSpMkLst>
        </pc:cxnChg>
        <pc:cxnChg chg="add mod">
          <ac:chgData name="Karim Lourimi" userId="e4a486d6-35e1-4ebe-aa1e-805a37c1b4fb" providerId="ADAL" clId="{3A29C054-4310-4435-BFB6-8CB46C4C7DE2}" dt="2022-12-14T15:11:08.179" v="11479" actId="1036"/>
          <ac:cxnSpMkLst>
            <pc:docMk/>
            <pc:sldMk cId="527062573" sldId="511"/>
            <ac:cxnSpMk id="66" creationId="{3183E23B-C423-EE6F-F999-C03E6484DABF}"/>
          </ac:cxnSpMkLst>
        </pc:cxnChg>
        <pc:cxnChg chg="add mod">
          <ac:chgData name="Karim Lourimi" userId="e4a486d6-35e1-4ebe-aa1e-805a37c1b4fb" providerId="ADAL" clId="{3A29C054-4310-4435-BFB6-8CB46C4C7DE2}" dt="2022-12-14T15:11:08.179" v="11479" actId="1036"/>
          <ac:cxnSpMkLst>
            <pc:docMk/>
            <pc:sldMk cId="527062573" sldId="511"/>
            <ac:cxnSpMk id="67" creationId="{C00F7935-659D-C53C-898A-9A4852F22015}"/>
          </ac:cxnSpMkLst>
        </pc:cxnChg>
        <pc:cxnChg chg="add mod">
          <ac:chgData name="Karim Lourimi" userId="e4a486d6-35e1-4ebe-aa1e-805a37c1b4fb" providerId="ADAL" clId="{3A29C054-4310-4435-BFB6-8CB46C4C7DE2}" dt="2022-12-14T15:11:08.179" v="11479" actId="1036"/>
          <ac:cxnSpMkLst>
            <pc:docMk/>
            <pc:sldMk cId="527062573" sldId="511"/>
            <ac:cxnSpMk id="77" creationId="{9AD5F5A8-870E-0426-F141-D88B0C8871E9}"/>
          </ac:cxnSpMkLst>
        </pc:cxnChg>
        <pc:cxnChg chg="add mod">
          <ac:chgData name="Karim Lourimi" userId="e4a486d6-35e1-4ebe-aa1e-805a37c1b4fb" providerId="ADAL" clId="{3A29C054-4310-4435-BFB6-8CB46C4C7DE2}" dt="2022-12-14T15:11:08.179" v="11479" actId="1036"/>
          <ac:cxnSpMkLst>
            <pc:docMk/>
            <pc:sldMk cId="527062573" sldId="511"/>
            <ac:cxnSpMk id="78" creationId="{E17697A5-6B59-3706-0681-6D5BBBFCFB45}"/>
          </ac:cxnSpMkLst>
        </pc:cxnChg>
        <pc:cxnChg chg="add mod">
          <ac:chgData name="Karim Lourimi" userId="e4a486d6-35e1-4ebe-aa1e-805a37c1b4fb" providerId="ADAL" clId="{3A29C054-4310-4435-BFB6-8CB46C4C7DE2}" dt="2022-12-14T15:11:08.179" v="11479" actId="1036"/>
          <ac:cxnSpMkLst>
            <pc:docMk/>
            <pc:sldMk cId="527062573" sldId="511"/>
            <ac:cxnSpMk id="88" creationId="{3C4415DE-D5FE-E23D-8C95-7AF50D61FAA9}"/>
          </ac:cxnSpMkLst>
        </pc:cxnChg>
        <pc:cxnChg chg="add mod">
          <ac:chgData name="Karim Lourimi" userId="e4a486d6-35e1-4ebe-aa1e-805a37c1b4fb" providerId="ADAL" clId="{3A29C054-4310-4435-BFB6-8CB46C4C7DE2}" dt="2022-12-14T15:11:08.179" v="11479" actId="1036"/>
          <ac:cxnSpMkLst>
            <pc:docMk/>
            <pc:sldMk cId="527062573" sldId="511"/>
            <ac:cxnSpMk id="90" creationId="{F406CA8B-A972-DB6B-E44A-7476F0ABBAB2}"/>
          </ac:cxnSpMkLst>
        </pc:cxnChg>
        <pc:cxnChg chg="add mod">
          <ac:chgData name="Karim Lourimi" userId="e4a486d6-35e1-4ebe-aa1e-805a37c1b4fb" providerId="ADAL" clId="{3A29C054-4310-4435-BFB6-8CB46C4C7DE2}" dt="2022-12-14T15:11:08.179" v="11479" actId="1036"/>
          <ac:cxnSpMkLst>
            <pc:docMk/>
            <pc:sldMk cId="527062573" sldId="511"/>
            <ac:cxnSpMk id="91" creationId="{0921FA07-7288-87AD-A3B5-5000B6217742}"/>
          </ac:cxnSpMkLst>
        </pc:cxnChg>
        <pc:cxnChg chg="add mod">
          <ac:chgData name="Karim Lourimi" userId="e4a486d6-35e1-4ebe-aa1e-805a37c1b4fb" providerId="ADAL" clId="{3A29C054-4310-4435-BFB6-8CB46C4C7DE2}" dt="2022-12-14T15:11:08.179" v="11479" actId="1036"/>
          <ac:cxnSpMkLst>
            <pc:docMk/>
            <pc:sldMk cId="527062573" sldId="511"/>
            <ac:cxnSpMk id="92" creationId="{71550D32-0F56-5A21-29A2-437A2122A0D6}"/>
          </ac:cxnSpMkLst>
        </pc:cxnChg>
        <pc:cxnChg chg="add mod">
          <ac:chgData name="Karim Lourimi" userId="e4a486d6-35e1-4ebe-aa1e-805a37c1b4fb" providerId="ADAL" clId="{3A29C054-4310-4435-BFB6-8CB46C4C7DE2}" dt="2022-12-14T15:11:08.179" v="11479" actId="1036"/>
          <ac:cxnSpMkLst>
            <pc:docMk/>
            <pc:sldMk cId="527062573" sldId="511"/>
            <ac:cxnSpMk id="96" creationId="{DC4D74C2-6F35-D039-20DE-368CC8582F50}"/>
          </ac:cxnSpMkLst>
        </pc:cxnChg>
        <pc:cxnChg chg="add mod">
          <ac:chgData name="Karim Lourimi" userId="e4a486d6-35e1-4ebe-aa1e-805a37c1b4fb" providerId="ADAL" clId="{3A29C054-4310-4435-BFB6-8CB46C4C7DE2}" dt="2022-12-14T15:11:08.179" v="11479" actId="1036"/>
          <ac:cxnSpMkLst>
            <pc:docMk/>
            <pc:sldMk cId="527062573" sldId="511"/>
            <ac:cxnSpMk id="97" creationId="{F4F88ED9-20C9-7926-370D-EE494C3A73BA}"/>
          </ac:cxnSpMkLst>
        </pc:cxnChg>
        <pc:cxnChg chg="add mod">
          <ac:chgData name="Karim Lourimi" userId="e4a486d6-35e1-4ebe-aa1e-805a37c1b4fb" providerId="ADAL" clId="{3A29C054-4310-4435-BFB6-8CB46C4C7DE2}" dt="2022-12-14T15:11:08.179" v="11479" actId="1036"/>
          <ac:cxnSpMkLst>
            <pc:docMk/>
            <pc:sldMk cId="527062573" sldId="511"/>
            <ac:cxnSpMk id="98" creationId="{E56D2906-0FB8-7C9D-2191-0F9413326BD8}"/>
          </ac:cxnSpMkLst>
        </pc:cxnChg>
        <pc:cxnChg chg="add mod">
          <ac:chgData name="Karim Lourimi" userId="e4a486d6-35e1-4ebe-aa1e-805a37c1b4fb" providerId="ADAL" clId="{3A29C054-4310-4435-BFB6-8CB46C4C7DE2}" dt="2022-12-14T15:11:08.179" v="11479" actId="1036"/>
          <ac:cxnSpMkLst>
            <pc:docMk/>
            <pc:sldMk cId="527062573" sldId="511"/>
            <ac:cxnSpMk id="99" creationId="{05913680-D13C-DF6F-6A21-78E1B4612E78}"/>
          </ac:cxnSpMkLst>
        </pc:cxnChg>
        <pc:cxnChg chg="add mod">
          <ac:chgData name="Karim Lourimi" userId="e4a486d6-35e1-4ebe-aa1e-805a37c1b4fb" providerId="ADAL" clId="{3A29C054-4310-4435-BFB6-8CB46C4C7DE2}" dt="2022-12-14T15:11:08.179" v="11479" actId="1036"/>
          <ac:cxnSpMkLst>
            <pc:docMk/>
            <pc:sldMk cId="527062573" sldId="511"/>
            <ac:cxnSpMk id="100" creationId="{E7EAA8CF-84ED-70C1-E419-5F1A9F538CEC}"/>
          </ac:cxnSpMkLst>
        </pc:cxnChg>
        <pc:cxnChg chg="add mod">
          <ac:chgData name="Karim Lourimi" userId="e4a486d6-35e1-4ebe-aa1e-805a37c1b4fb" providerId="ADAL" clId="{3A29C054-4310-4435-BFB6-8CB46C4C7DE2}" dt="2022-12-14T15:11:08.179" v="11479" actId="1036"/>
          <ac:cxnSpMkLst>
            <pc:docMk/>
            <pc:sldMk cId="527062573" sldId="511"/>
            <ac:cxnSpMk id="102" creationId="{456AD8D3-A812-CC44-74CB-C341BACB0BC7}"/>
          </ac:cxnSpMkLst>
        </pc:cxnChg>
        <pc:cxnChg chg="add mod">
          <ac:chgData name="Karim Lourimi" userId="e4a486d6-35e1-4ebe-aa1e-805a37c1b4fb" providerId="ADAL" clId="{3A29C054-4310-4435-BFB6-8CB46C4C7DE2}" dt="2022-12-14T15:11:08.179" v="11479" actId="1036"/>
          <ac:cxnSpMkLst>
            <pc:docMk/>
            <pc:sldMk cId="527062573" sldId="511"/>
            <ac:cxnSpMk id="107" creationId="{7DEF8EE6-2AFD-63DD-BC8B-EEFB0EBBC95F}"/>
          </ac:cxnSpMkLst>
        </pc:cxnChg>
        <pc:cxnChg chg="add mod">
          <ac:chgData name="Karim Lourimi" userId="e4a486d6-35e1-4ebe-aa1e-805a37c1b4fb" providerId="ADAL" clId="{3A29C054-4310-4435-BFB6-8CB46C4C7DE2}" dt="2022-12-14T15:11:08.179" v="11479" actId="1036"/>
          <ac:cxnSpMkLst>
            <pc:docMk/>
            <pc:sldMk cId="527062573" sldId="511"/>
            <ac:cxnSpMk id="108" creationId="{70F449B3-E1A9-0437-9E11-45B5EA8F0DB3}"/>
          </ac:cxnSpMkLst>
        </pc:cxnChg>
        <pc:cxnChg chg="add mod">
          <ac:chgData name="Karim Lourimi" userId="e4a486d6-35e1-4ebe-aa1e-805a37c1b4fb" providerId="ADAL" clId="{3A29C054-4310-4435-BFB6-8CB46C4C7DE2}" dt="2022-12-14T15:11:08.179" v="11479" actId="1036"/>
          <ac:cxnSpMkLst>
            <pc:docMk/>
            <pc:sldMk cId="527062573" sldId="511"/>
            <ac:cxnSpMk id="109" creationId="{F7B7F5C9-0047-0DD4-A32F-6AAB52A4D715}"/>
          </ac:cxnSpMkLst>
        </pc:cxnChg>
        <pc:cxnChg chg="add mod">
          <ac:chgData name="Karim Lourimi" userId="e4a486d6-35e1-4ebe-aa1e-805a37c1b4fb" providerId="ADAL" clId="{3A29C054-4310-4435-BFB6-8CB46C4C7DE2}" dt="2022-12-14T15:11:08.179" v="11479" actId="1036"/>
          <ac:cxnSpMkLst>
            <pc:docMk/>
            <pc:sldMk cId="527062573" sldId="511"/>
            <ac:cxnSpMk id="110" creationId="{4C2D3A2C-A38E-F4B1-19B8-763EA995A865}"/>
          </ac:cxnSpMkLst>
        </pc:cxnChg>
        <pc:cxnChg chg="add mod">
          <ac:chgData name="Karim Lourimi" userId="e4a486d6-35e1-4ebe-aa1e-805a37c1b4fb" providerId="ADAL" clId="{3A29C054-4310-4435-BFB6-8CB46C4C7DE2}" dt="2022-12-14T15:11:08.179" v="11479" actId="1036"/>
          <ac:cxnSpMkLst>
            <pc:docMk/>
            <pc:sldMk cId="527062573" sldId="511"/>
            <ac:cxnSpMk id="111" creationId="{2D421DB4-BE1F-9C87-C33C-1A01FB38084F}"/>
          </ac:cxnSpMkLst>
        </pc:cxnChg>
        <pc:cxnChg chg="add mod">
          <ac:chgData name="Karim Lourimi" userId="e4a486d6-35e1-4ebe-aa1e-805a37c1b4fb" providerId="ADAL" clId="{3A29C054-4310-4435-BFB6-8CB46C4C7DE2}" dt="2022-12-14T15:11:08.179" v="11479" actId="1036"/>
          <ac:cxnSpMkLst>
            <pc:docMk/>
            <pc:sldMk cId="527062573" sldId="511"/>
            <ac:cxnSpMk id="112" creationId="{FC618E75-CC79-7B06-3F6F-59FB6EA9BA45}"/>
          </ac:cxnSpMkLst>
        </pc:cxnChg>
      </pc:sldChg>
      <pc:sldChg chg="add del">
        <pc:chgData name="Karim Lourimi" userId="e4a486d6-35e1-4ebe-aa1e-805a37c1b4fb" providerId="ADAL" clId="{3A29C054-4310-4435-BFB6-8CB46C4C7DE2}" dt="2022-12-12T20:00:35.506" v="117" actId="47"/>
        <pc:sldMkLst>
          <pc:docMk/>
          <pc:sldMk cId="854225744" sldId="606"/>
        </pc:sldMkLst>
      </pc:sldChg>
      <pc:sldChg chg="add del">
        <pc:chgData name="Karim Lourimi" userId="e4a486d6-35e1-4ebe-aa1e-805a37c1b4fb" providerId="ADAL" clId="{3A29C054-4310-4435-BFB6-8CB46C4C7DE2}" dt="2022-12-12T20:00:35.506" v="117" actId="47"/>
        <pc:sldMkLst>
          <pc:docMk/>
          <pc:sldMk cId="3848966090" sldId="607"/>
        </pc:sldMkLst>
      </pc:sldChg>
      <pc:sldChg chg="add del">
        <pc:chgData name="Karim Lourimi" userId="e4a486d6-35e1-4ebe-aa1e-805a37c1b4fb" providerId="ADAL" clId="{3A29C054-4310-4435-BFB6-8CB46C4C7DE2}" dt="2022-12-12T20:00:35.506" v="117" actId="47"/>
        <pc:sldMkLst>
          <pc:docMk/>
          <pc:sldMk cId="3554452858" sldId="60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8E36E5-944C-48A1-8D7B-DE7BAB8405BD}" type="datetimeFigureOut">
              <a:rPr lang="fr-FR" smtClean="0"/>
              <a:t>14/12/2022</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3F4464-4FBB-4681-839E-28570B38AF88}" type="slidenum">
              <a:rPr lang="fr-FR" smtClean="0"/>
              <a:t>‹N°›</a:t>
            </a:fld>
            <a:endParaRPr lang="fr-FR" dirty="0"/>
          </a:p>
        </p:txBody>
      </p:sp>
    </p:spTree>
    <p:extLst>
      <p:ext uri="{BB962C8B-B14F-4D97-AF65-F5344CB8AC3E}">
        <p14:creationId xmlns:p14="http://schemas.microsoft.com/office/powerpoint/2010/main" val="32328666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4F325E1-631E-4FFD-AF35-27D076BB57F2}" type="slidenum">
              <a:rPr lang="fr-FR" smtClean="0"/>
              <a:pPr/>
              <a:t>3</a:t>
            </a:fld>
            <a:endParaRPr lang="fr-FR" dirty="0"/>
          </a:p>
        </p:txBody>
      </p:sp>
    </p:spTree>
    <p:extLst>
      <p:ext uri="{BB962C8B-B14F-4D97-AF65-F5344CB8AC3E}">
        <p14:creationId xmlns:p14="http://schemas.microsoft.com/office/powerpoint/2010/main" val="2261340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4F325E1-631E-4FFD-AF35-27D076BB57F2}" type="slidenum">
              <a:rPr lang="fr-FR" smtClean="0"/>
              <a:pPr/>
              <a:t>10</a:t>
            </a:fld>
            <a:endParaRPr lang="fr-FR" dirty="0"/>
          </a:p>
        </p:txBody>
      </p:sp>
    </p:spTree>
    <p:extLst>
      <p:ext uri="{BB962C8B-B14F-4D97-AF65-F5344CB8AC3E}">
        <p14:creationId xmlns:p14="http://schemas.microsoft.com/office/powerpoint/2010/main" val="32716264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4F325E1-631E-4FFD-AF35-27D076BB57F2}" type="slidenum">
              <a:rPr lang="fr-FR" smtClean="0"/>
              <a:pPr/>
              <a:t>18</a:t>
            </a:fld>
            <a:endParaRPr lang="fr-FR" dirty="0"/>
          </a:p>
        </p:txBody>
      </p:sp>
    </p:spTree>
    <p:extLst>
      <p:ext uri="{BB962C8B-B14F-4D97-AF65-F5344CB8AC3E}">
        <p14:creationId xmlns:p14="http://schemas.microsoft.com/office/powerpoint/2010/main" val="2187170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4F325E1-631E-4FFD-AF35-27D076BB57F2}" type="slidenum">
              <a:rPr lang="fr-FR" smtClean="0"/>
              <a:pPr/>
              <a:t>27</a:t>
            </a:fld>
            <a:endParaRPr lang="fr-FR" dirty="0"/>
          </a:p>
        </p:txBody>
      </p:sp>
    </p:spTree>
    <p:extLst>
      <p:ext uri="{BB962C8B-B14F-4D97-AF65-F5344CB8AC3E}">
        <p14:creationId xmlns:p14="http://schemas.microsoft.com/office/powerpoint/2010/main" val="1829340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12" rtl="0" eaLnBrk="1" fontAlgn="auto" latinLnBrk="0" hangingPunct="1">
              <a:lnSpc>
                <a:spcPct val="100000"/>
              </a:lnSpc>
              <a:spcBef>
                <a:spcPts val="0"/>
              </a:spcBef>
              <a:spcAft>
                <a:spcPts val="0"/>
              </a:spcAft>
              <a:buClrTx/>
              <a:buSzTx/>
              <a:buFontTx/>
              <a:buNone/>
              <a:tabLst/>
              <a:defRPr/>
            </a:pPr>
            <a:r>
              <a:rPr lang="en-US" b="0" dirty="0"/>
              <a:t>Keith’s address at the Annual – BDO 3 years out</a:t>
            </a:r>
            <a:endParaRPr lang="en-DK" b="0" dirty="0"/>
          </a:p>
          <a:p>
            <a:endParaRPr lang="en-GB" dirty="0"/>
          </a:p>
          <a:p>
            <a:r>
              <a:rPr lang="en-GB" b="0" dirty="0"/>
              <a:t>I would argue that the CF community is all about ONEBDO</a:t>
            </a:r>
          </a:p>
          <a:p>
            <a:endParaRPr lang="en-GB" b="0" dirty="0"/>
          </a:p>
          <a:p>
            <a:r>
              <a:rPr lang="en-GB" b="0" dirty="0"/>
              <a:t>On yourself you will not have much of a punch – together, there is a force-multiplier</a:t>
            </a:r>
            <a:endParaRPr lang="en-BE" b="0" dirty="0"/>
          </a:p>
        </p:txBody>
      </p:sp>
      <p:sp>
        <p:nvSpPr>
          <p:cNvPr id="4" name="Slide Number Placeholder 3"/>
          <p:cNvSpPr>
            <a:spLocks noGrp="1"/>
          </p:cNvSpPr>
          <p:nvPr>
            <p:ph type="sldNum" sz="quarter" idx="5"/>
          </p:nvPr>
        </p:nvSpPr>
        <p:spPr/>
        <p:txBody>
          <a:bodyPr/>
          <a:lstStyle/>
          <a:p>
            <a:fld id="{94F325E1-631E-4FFD-AF35-27D076BB57F2}" type="slidenum">
              <a:rPr lang="en-GB" smtClean="0"/>
              <a:pPr/>
              <a:t>31</a:t>
            </a:fld>
            <a:endParaRPr lang="en-GB" dirty="0"/>
          </a:p>
        </p:txBody>
      </p:sp>
    </p:spTree>
    <p:extLst>
      <p:ext uri="{BB962C8B-B14F-4D97-AF65-F5344CB8AC3E}">
        <p14:creationId xmlns:p14="http://schemas.microsoft.com/office/powerpoint/2010/main" val="39871862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6B4E9-30B7-B425-5E85-B00ACCCD4A8A}"/>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0D33F3D1-40A7-24E3-ACE9-04612CD298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A6EF6C81-5FEB-565B-6EFA-9A04810704AC}"/>
              </a:ext>
            </a:extLst>
          </p:cNvPr>
          <p:cNvSpPr>
            <a:spLocks noGrp="1"/>
          </p:cNvSpPr>
          <p:nvPr>
            <p:ph type="dt" sz="half" idx="10"/>
          </p:nvPr>
        </p:nvSpPr>
        <p:spPr/>
        <p:txBody>
          <a:bodyPr/>
          <a:lstStyle/>
          <a:p>
            <a:r>
              <a:rPr lang="fr-FR" dirty="0"/>
              <a:t>Septembre 2022</a:t>
            </a:r>
          </a:p>
        </p:txBody>
      </p:sp>
      <p:sp>
        <p:nvSpPr>
          <p:cNvPr id="5" name="Espace réservé du pied de page 4">
            <a:extLst>
              <a:ext uri="{FF2B5EF4-FFF2-40B4-BE49-F238E27FC236}">
                <a16:creationId xmlns:a16="http://schemas.microsoft.com/office/drawing/2014/main" id="{0FD36C0D-328B-639E-3B91-A8EE667B60AD}"/>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CCF4E887-7C32-21E2-6213-A4B6889EE063}"/>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2709724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D27D2F-04EE-4B9C-1F5A-9FBFCAE17361}"/>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804848C4-ABCD-C7B3-CBCF-A5AF124E8804}"/>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FD01D4E-062D-0946-D2F9-F2C5E0CCB719}"/>
              </a:ext>
            </a:extLst>
          </p:cNvPr>
          <p:cNvSpPr>
            <a:spLocks noGrp="1"/>
          </p:cNvSpPr>
          <p:nvPr>
            <p:ph type="dt" sz="half" idx="10"/>
          </p:nvPr>
        </p:nvSpPr>
        <p:spPr/>
        <p:txBody>
          <a:bodyPr/>
          <a:lstStyle/>
          <a:p>
            <a:r>
              <a:rPr lang="fr-FR" dirty="0"/>
              <a:t>Septembre 2022</a:t>
            </a:r>
          </a:p>
        </p:txBody>
      </p:sp>
      <p:sp>
        <p:nvSpPr>
          <p:cNvPr id="5" name="Espace réservé du pied de page 4">
            <a:extLst>
              <a:ext uri="{FF2B5EF4-FFF2-40B4-BE49-F238E27FC236}">
                <a16:creationId xmlns:a16="http://schemas.microsoft.com/office/drawing/2014/main" id="{27339F19-2212-E8FD-C8DC-83BEC94E5A55}"/>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BB0D02FB-E7AA-0E6D-D922-3561F562DD03}"/>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26320477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CFFEF935-1156-32FE-CAF3-E2FE9123564D}"/>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B464F2C7-02F7-CF0D-C389-A0C6131DD95B}"/>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60F5EAA-7D1E-B845-D494-26303650B642}"/>
              </a:ext>
            </a:extLst>
          </p:cNvPr>
          <p:cNvSpPr>
            <a:spLocks noGrp="1"/>
          </p:cNvSpPr>
          <p:nvPr>
            <p:ph type="dt" sz="half" idx="10"/>
          </p:nvPr>
        </p:nvSpPr>
        <p:spPr/>
        <p:txBody>
          <a:bodyPr/>
          <a:lstStyle/>
          <a:p>
            <a:r>
              <a:rPr lang="fr-FR" dirty="0"/>
              <a:t>Septembre 2022</a:t>
            </a:r>
          </a:p>
        </p:txBody>
      </p:sp>
      <p:sp>
        <p:nvSpPr>
          <p:cNvPr id="5" name="Espace réservé du pied de page 4">
            <a:extLst>
              <a:ext uri="{FF2B5EF4-FFF2-40B4-BE49-F238E27FC236}">
                <a16:creationId xmlns:a16="http://schemas.microsoft.com/office/drawing/2014/main" id="{51306203-7469-91F4-469E-34B1B1A83250}"/>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3211C6A5-EFDE-B866-8B2A-7FE43CCFCAA6}"/>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34528732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 and table 25%">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DEFD7F3C-A5FE-37E8-17C9-7DD08B5C5D33}"/>
              </a:ext>
            </a:extLst>
          </p:cNvPr>
          <p:cNvPicPr>
            <a:picLocks noChangeAspect="1"/>
          </p:cNvPicPr>
          <p:nvPr userDrawn="1"/>
        </p:nvPicPr>
        <p:blipFill rotWithShape="1">
          <a:blip r:embed="rId4"/>
          <a:srcRect l="22399"/>
          <a:stretch/>
        </p:blipFill>
        <p:spPr>
          <a:xfrm>
            <a:off x="-6" y="2735"/>
            <a:ext cx="12192006" cy="6858002"/>
          </a:xfrm>
          <a:prstGeom prst="rect">
            <a:avLst/>
          </a:prstGeom>
        </p:spPr>
      </p:pic>
      <p:graphicFrame>
        <p:nvGraphicFramePr>
          <p:cNvPr id="3" name="Objet 2" hidden="1">
            <a:extLst>
              <a:ext uri="{FF2B5EF4-FFF2-40B4-BE49-F238E27FC236}">
                <a16:creationId xmlns:a16="http://schemas.microsoft.com/office/drawing/2014/main" id="{F1F99BAF-1DD0-4440-811C-8052270F8EE8}"/>
              </a:ext>
            </a:extLst>
          </p:cNvPr>
          <p:cNvGraphicFramePr>
            <a:graphicFrameLocks noChangeAspect="1"/>
          </p:cNvGraphicFramePr>
          <p:nvPr userDrawn="1">
            <p:custDataLst>
              <p:tags r:id="rId1"/>
            </p:custDataLst>
            <p:extLst>
              <p:ext uri="{D42A27DB-BD31-4B8C-83A1-F6EECF244321}">
                <p14:modId xmlns:p14="http://schemas.microsoft.com/office/powerpoint/2010/main" val="53900903"/>
              </p:ext>
            </p:extLst>
          </p:nvPr>
        </p:nvGraphicFramePr>
        <p:xfrm>
          <a:off x="2338" y="2044"/>
          <a:ext cx="2338" cy="2044"/>
        </p:xfrm>
        <a:graphic>
          <a:graphicData uri="http://schemas.openxmlformats.org/presentationml/2006/ole">
            <mc:AlternateContent xmlns:mc="http://schemas.openxmlformats.org/markup-compatibility/2006">
              <mc:Choice xmlns:v="urn:schemas-microsoft-com:vml" Requires="v">
                <p:oleObj name="Diapositive think-cell" r:id="rId5" imgW="421" imgH="423" progId="TCLayout.ActiveDocument.1">
                  <p:embed/>
                </p:oleObj>
              </mc:Choice>
              <mc:Fallback>
                <p:oleObj name="Diapositive think-cell" r:id="rId5" imgW="421" imgH="423" progId="TCLayout.ActiveDocument.1">
                  <p:embed/>
                  <p:pic>
                    <p:nvPicPr>
                      <p:cNvPr id="3" name="Objet 2" hidden="1">
                        <a:extLst>
                          <a:ext uri="{FF2B5EF4-FFF2-40B4-BE49-F238E27FC236}">
                            <a16:creationId xmlns:a16="http://schemas.microsoft.com/office/drawing/2014/main" id="{F1F99BAF-1DD0-4440-811C-8052270F8EE8}"/>
                          </a:ext>
                        </a:extLst>
                      </p:cNvPr>
                      <p:cNvPicPr/>
                      <p:nvPr/>
                    </p:nvPicPr>
                    <p:blipFill>
                      <a:blip r:embed="rId6"/>
                      <a:stretch>
                        <a:fillRect/>
                      </a:stretch>
                    </p:blipFill>
                    <p:spPr>
                      <a:xfrm>
                        <a:off x="2338" y="2044"/>
                        <a:ext cx="2338" cy="204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C31FA5D-AFB9-4995-99E7-3B423DCC573F}"/>
              </a:ext>
            </a:extLst>
          </p:cNvPr>
          <p:cNvSpPr/>
          <p:nvPr userDrawn="1">
            <p:custDataLst>
              <p:tags r:id="rId2"/>
            </p:custDataLst>
          </p:nvPr>
        </p:nvSpPr>
        <p:spPr>
          <a:xfrm>
            <a:off x="0" y="0"/>
            <a:ext cx="233742" cy="2043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fr-FR" sz="4634" b="1" i="0" baseline="0" dirty="0">
              <a:latin typeface="Trebuchet MS" panose="020B0603020202020204" pitchFamily="34" charset="0"/>
              <a:ea typeface="+mj-ea"/>
              <a:cs typeface="+mj-cs"/>
              <a:sym typeface="Trebuchet MS" panose="020B0603020202020204" pitchFamily="34" charset="0"/>
            </a:endParaRPr>
          </a:p>
        </p:txBody>
      </p:sp>
      <p:pic>
        <p:nvPicPr>
          <p:cNvPr id="7" name="Graphique 6">
            <a:extLst>
              <a:ext uri="{FF2B5EF4-FFF2-40B4-BE49-F238E27FC236}">
                <a16:creationId xmlns:a16="http://schemas.microsoft.com/office/drawing/2014/main" id="{CED79AB3-FE4F-4DAB-B22B-3D5AA7C38F8D}"/>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a:off x="-834464" y="834462"/>
            <a:ext cx="6858001" cy="5189084"/>
          </a:xfrm>
          <a:prstGeom prst="rect">
            <a:avLst/>
          </a:prstGeom>
        </p:spPr>
      </p:pic>
      <p:sp>
        <p:nvSpPr>
          <p:cNvPr id="6" name="Triangle rectangle 5">
            <a:extLst>
              <a:ext uri="{FF2B5EF4-FFF2-40B4-BE49-F238E27FC236}">
                <a16:creationId xmlns:a16="http://schemas.microsoft.com/office/drawing/2014/main" id="{0373C52E-36B9-45ED-A994-72161FAB9E44}"/>
              </a:ext>
            </a:extLst>
          </p:cNvPr>
          <p:cNvSpPr/>
          <p:nvPr userDrawn="1"/>
        </p:nvSpPr>
        <p:spPr>
          <a:xfrm rot="10800000" flipH="1">
            <a:off x="5186223" y="4088"/>
            <a:ext cx="1402718" cy="6841652"/>
          </a:xfrm>
          <a:prstGeom prst="rtTriangl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17" dirty="0"/>
          </a:p>
        </p:txBody>
      </p:sp>
    </p:spTree>
    <p:extLst>
      <p:ext uri="{BB962C8B-B14F-4D97-AF65-F5344CB8AC3E}">
        <p14:creationId xmlns:p14="http://schemas.microsoft.com/office/powerpoint/2010/main" val="3875472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8837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752FD0-AB41-02B0-8D5F-15B0731B253B}"/>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975B9E57-BF1B-075E-8642-30C26890876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36F94F60-D14F-9626-D2DF-34D386DA2F96}"/>
              </a:ext>
            </a:extLst>
          </p:cNvPr>
          <p:cNvSpPr>
            <a:spLocks noGrp="1"/>
          </p:cNvSpPr>
          <p:nvPr>
            <p:ph type="dt" sz="half" idx="10"/>
          </p:nvPr>
        </p:nvSpPr>
        <p:spPr/>
        <p:txBody>
          <a:bodyPr/>
          <a:lstStyle/>
          <a:p>
            <a:r>
              <a:rPr lang="fr-FR" dirty="0"/>
              <a:t>Septembre 2022</a:t>
            </a:r>
          </a:p>
        </p:txBody>
      </p:sp>
      <p:sp>
        <p:nvSpPr>
          <p:cNvPr id="5" name="Espace réservé du pied de page 4">
            <a:extLst>
              <a:ext uri="{FF2B5EF4-FFF2-40B4-BE49-F238E27FC236}">
                <a16:creationId xmlns:a16="http://schemas.microsoft.com/office/drawing/2014/main" id="{D8DCCE1B-93B5-9790-4AC5-F38ED704CA02}"/>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650C81FB-4C51-A133-78DF-A2D6E8D54795}"/>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1267302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E8750F-FCD8-A54C-600E-DE30370222E2}"/>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6F1F396D-E2C2-CD0A-A52E-3E278FA480A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7151B33F-1CA7-C73F-BBF8-F3E14C17E6E3}"/>
              </a:ext>
            </a:extLst>
          </p:cNvPr>
          <p:cNvSpPr>
            <a:spLocks noGrp="1"/>
          </p:cNvSpPr>
          <p:nvPr>
            <p:ph type="dt" sz="half" idx="10"/>
          </p:nvPr>
        </p:nvSpPr>
        <p:spPr/>
        <p:txBody>
          <a:bodyPr/>
          <a:lstStyle/>
          <a:p>
            <a:r>
              <a:rPr lang="fr-FR" dirty="0"/>
              <a:t>Septembre 2022</a:t>
            </a:r>
          </a:p>
        </p:txBody>
      </p:sp>
      <p:sp>
        <p:nvSpPr>
          <p:cNvPr id="5" name="Espace réservé du pied de page 4">
            <a:extLst>
              <a:ext uri="{FF2B5EF4-FFF2-40B4-BE49-F238E27FC236}">
                <a16:creationId xmlns:a16="http://schemas.microsoft.com/office/drawing/2014/main" id="{6D91F6CC-F6AD-546E-23A2-BCB6994D2F4C}"/>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8C50A3D4-E325-20B9-B4B2-609A0558BC62}"/>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19538037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C926410-2095-8BA0-B671-379907C330F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7884D11-A25A-EBF8-5D98-02ACF14ADD5E}"/>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7F4EDDCD-22B9-A0F0-2D78-D76E2162A900}"/>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C9AFE045-B3B0-0587-815F-805815D2F1A2}"/>
              </a:ext>
            </a:extLst>
          </p:cNvPr>
          <p:cNvSpPr>
            <a:spLocks noGrp="1"/>
          </p:cNvSpPr>
          <p:nvPr>
            <p:ph type="dt" sz="half" idx="10"/>
          </p:nvPr>
        </p:nvSpPr>
        <p:spPr/>
        <p:txBody>
          <a:bodyPr/>
          <a:lstStyle/>
          <a:p>
            <a:r>
              <a:rPr lang="fr-FR" dirty="0"/>
              <a:t>Septembre 2022</a:t>
            </a:r>
          </a:p>
        </p:txBody>
      </p:sp>
      <p:sp>
        <p:nvSpPr>
          <p:cNvPr id="6" name="Espace réservé du pied de page 5">
            <a:extLst>
              <a:ext uri="{FF2B5EF4-FFF2-40B4-BE49-F238E27FC236}">
                <a16:creationId xmlns:a16="http://schemas.microsoft.com/office/drawing/2014/main" id="{4A7C0CF2-D336-B049-2D33-320BB8AE0298}"/>
              </a:ext>
            </a:extLst>
          </p:cNvPr>
          <p:cNvSpPr>
            <a:spLocks noGrp="1"/>
          </p:cNvSpPr>
          <p:nvPr>
            <p:ph type="ftr" sz="quarter" idx="11"/>
          </p:nvPr>
        </p:nvSpPr>
        <p:spPr/>
        <p:txBody>
          <a:bodyPr/>
          <a:lstStyle/>
          <a:p>
            <a:endParaRPr lang="fr-FR" dirty="0"/>
          </a:p>
        </p:txBody>
      </p:sp>
      <p:sp>
        <p:nvSpPr>
          <p:cNvPr id="7" name="Espace réservé du numéro de diapositive 6">
            <a:extLst>
              <a:ext uri="{FF2B5EF4-FFF2-40B4-BE49-F238E27FC236}">
                <a16:creationId xmlns:a16="http://schemas.microsoft.com/office/drawing/2014/main" id="{6F631E64-1255-5A87-23D0-BD57C47C5BCB}"/>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2201428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FC708F-63A7-EAC8-3A27-1DE24E26C08F}"/>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55B5A3C9-BE03-54DA-41A2-1594270404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D47A4212-8DDF-EF79-2D48-F2E2997EB6C1}"/>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297D3802-1CD7-6E74-D05E-8225AB786D7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41D50C49-2B83-DD08-631A-06A8B8A839C8}"/>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11F3C171-D216-508C-D7BF-DF943EE1BA50}"/>
              </a:ext>
            </a:extLst>
          </p:cNvPr>
          <p:cNvSpPr>
            <a:spLocks noGrp="1"/>
          </p:cNvSpPr>
          <p:nvPr>
            <p:ph type="dt" sz="half" idx="10"/>
          </p:nvPr>
        </p:nvSpPr>
        <p:spPr/>
        <p:txBody>
          <a:bodyPr/>
          <a:lstStyle/>
          <a:p>
            <a:r>
              <a:rPr lang="fr-FR" dirty="0"/>
              <a:t>Septembre 2022</a:t>
            </a:r>
          </a:p>
        </p:txBody>
      </p:sp>
      <p:sp>
        <p:nvSpPr>
          <p:cNvPr id="8" name="Espace réservé du pied de page 7">
            <a:extLst>
              <a:ext uri="{FF2B5EF4-FFF2-40B4-BE49-F238E27FC236}">
                <a16:creationId xmlns:a16="http://schemas.microsoft.com/office/drawing/2014/main" id="{8CBD14FE-C380-A0D4-7373-86D7379778B0}"/>
              </a:ext>
            </a:extLst>
          </p:cNvPr>
          <p:cNvSpPr>
            <a:spLocks noGrp="1"/>
          </p:cNvSpPr>
          <p:nvPr>
            <p:ph type="ftr" sz="quarter" idx="11"/>
          </p:nvPr>
        </p:nvSpPr>
        <p:spPr/>
        <p:txBody>
          <a:bodyPr/>
          <a:lstStyle/>
          <a:p>
            <a:endParaRPr lang="fr-FR" dirty="0"/>
          </a:p>
        </p:txBody>
      </p:sp>
      <p:sp>
        <p:nvSpPr>
          <p:cNvPr id="9" name="Espace réservé du numéro de diapositive 8">
            <a:extLst>
              <a:ext uri="{FF2B5EF4-FFF2-40B4-BE49-F238E27FC236}">
                <a16:creationId xmlns:a16="http://schemas.microsoft.com/office/drawing/2014/main" id="{C541D5F4-F4B8-4DB5-9F9E-D590AE23DCB1}"/>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2283462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D45C08-2660-3487-365E-BEFD0283C4DE}"/>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3E4C4C62-CB92-B5FE-F53E-DCB7619A5C70}"/>
              </a:ext>
            </a:extLst>
          </p:cNvPr>
          <p:cNvSpPr>
            <a:spLocks noGrp="1"/>
          </p:cNvSpPr>
          <p:nvPr>
            <p:ph type="dt" sz="half" idx="10"/>
          </p:nvPr>
        </p:nvSpPr>
        <p:spPr/>
        <p:txBody>
          <a:bodyPr/>
          <a:lstStyle/>
          <a:p>
            <a:r>
              <a:rPr lang="fr-FR" dirty="0"/>
              <a:t>Septembre 2022</a:t>
            </a:r>
          </a:p>
        </p:txBody>
      </p:sp>
      <p:sp>
        <p:nvSpPr>
          <p:cNvPr id="4" name="Espace réservé du pied de page 3">
            <a:extLst>
              <a:ext uri="{FF2B5EF4-FFF2-40B4-BE49-F238E27FC236}">
                <a16:creationId xmlns:a16="http://schemas.microsoft.com/office/drawing/2014/main" id="{0D8D64BA-A826-BAE3-DC6E-035603A06AFA}"/>
              </a:ext>
            </a:extLst>
          </p:cNvPr>
          <p:cNvSpPr>
            <a:spLocks noGrp="1"/>
          </p:cNvSpPr>
          <p:nvPr>
            <p:ph type="ftr" sz="quarter" idx="11"/>
          </p:nvPr>
        </p:nvSpPr>
        <p:spPr/>
        <p:txBody>
          <a:bodyPr/>
          <a:lstStyle/>
          <a:p>
            <a:endParaRPr lang="fr-FR" dirty="0"/>
          </a:p>
        </p:txBody>
      </p:sp>
      <p:sp>
        <p:nvSpPr>
          <p:cNvPr id="5" name="Espace réservé du numéro de diapositive 4">
            <a:extLst>
              <a:ext uri="{FF2B5EF4-FFF2-40B4-BE49-F238E27FC236}">
                <a16:creationId xmlns:a16="http://schemas.microsoft.com/office/drawing/2014/main" id="{D5FECD29-0986-FC7F-30DC-6B9266C52DD9}"/>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30430023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B7E167FC-784E-B00E-D4E8-452F9FD7456F}"/>
              </a:ext>
            </a:extLst>
          </p:cNvPr>
          <p:cNvSpPr>
            <a:spLocks noGrp="1"/>
          </p:cNvSpPr>
          <p:nvPr>
            <p:ph type="dt" sz="half" idx="10"/>
          </p:nvPr>
        </p:nvSpPr>
        <p:spPr/>
        <p:txBody>
          <a:bodyPr/>
          <a:lstStyle/>
          <a:p>
            <a:r>
              <a:rPr lang="fr-FR" dirty="0"/>
              <a:t>Septembre 2022</a:t>
            </a:r>
          </a:p>
        </p:txBody>
      </p:sp>
      <p:sp>
        <p:nvSpPr>
          <p:cNvPr id="3" name="Espace réservé du pied de page 2">
            <a:extLst>
              <a:ext uri="{FF2B5EF4-FFF2-40B4-BE49-F238E27FC236}">
                <a16:creationId xmlns:a16="http://schemas.microsoft.com/office/drawing/2014/main" id="{AE9CDFE3-1393-061F-D208-E8213DDCF97F}"/>
              </a:ext>
            </a:extLst>
          </p:cNvPr>
          <p:cNvSpPr>
            <a:spLocks noGrp="1"/>
          </p:cNvSpPr>
          <p:nvPr>
            <p:ph type="ftr" sz="quarter" idx="1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57352C24-5F11-05AD-9CB7-C82BC7A6B09A}"/>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1431293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8B07D7-04A7-DC9B-8C7F-87E5B28B11E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53EE86AA-7896-D409-01E6-327F0FF61D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02C7DA95-C491-DB5F-D14F-500FB02918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10A8AA8-E6D4-687B-B4AB-F30E851654AD}"/>
              </a:ext>
            </a:extLst>
          </p:cNvPr>
          <p:cNvSpPr>
            <a:spLocks noGrp="1"/>
          </p:cNvSpPr>
          <p:nvPr>
            <p:ph type="dt" sz="half" idx="10"/>
          </p:nvPr>
        </p:nvSpPr>
        <p:spPr/>
        <p:txBody>
          <a:bodyPr/>
          <a:lstStyle/>
          <a:p>
            <a:r>
              <a:rPr lang="fr-FR" dirty="0"/>
              <a:t>Septembre 2022</a:t>
            </a:r>
          </a:p>
        </p:txBody>
      </p:sp>
      <p:sp>
        <p:nvSpPr>
          <p:cNvPr id="6" name="Espace réservé du pied de page 5">
            <a:extLst>
              <a:ext uri="{FF2B5EF4-FFF2-40B4-BE49-F238E27FC236}">
                <a16:creationId xmlns:a16="http://schemas.microsoft.com/office/drawing/2014/main" id="{475324F8-F448-DAEE-077A-9B0A2EE51CAD}"/>
              </a:ext>
            </a:extLst>
          </p:cNvPr>
          <p:cNvSpPr>
            <a:spLocks noGrp="1"/>
          </p:cNvSpPr>
          <p:nvPr>
            <p:ph type="ftr" sz="quarter" idx="11"/>
          </p:nvPr>
        </p:nvSpPr>
        <p:spPr/>
        <p:txBody>
          <a:bodyPr/>
          <a:lstStyle/>
          <a:p>
            <a:endParaRPr lang="fr-FR" dirty="0"/>
          </a:p>
        </p:txBody>
      </p:sp>
      <p:sp>
        <p:nvSpPr>
          <p:cNvPr id="7" name="Espace réservé du numéro de diapositive 6">
            <a:extLst>
              <a:ext uri="{FF2B5EF4-FFF2-40B4-BE49-F238E27FC236}">
                <a16:creationId xmlns:a16="http://schemas.microsoft.com/office/drawing/2014/main" id="{7E4CCAF0-FB36-9D80-B7A2-EB14C3511361}"/>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2589523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9A68AC-4D33-F4F3-C89A-A7DC42F555D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0B12C7BC-A1D4-E3A2-73F4-8B7B70949D3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a:extLst>
              <a:ext uri="{FF2B5EF4-FFF2-40B4-BE49-F238E27FC236}">
                <a16:creationId xmlns:a16="http://schemas.microsoft.com/office/drawing/2014/main" id="{C57FD8E0-3774-1991-333E-9CD4E704A7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150E93A-4DCE-4D47-22B1-8C85690484F7}"/>
              </a:ext>
            </a:extLst>
          </p:cNvPr>
          <p:cNvSpPr>
            <a:spLocks noGrp="1"/>
          </p:cNvSpPr>
          <p:nvPr>
            <p:ph type="dt" sz="half" idx="10"/>
          </p:nvPr>
        </p:nvSpPr>
        <p:spPr/>
        <p:txBody>
          <a:bodyPr/>
          <a:lstStyle/>
          <a:p>
            <a:r>
              <a:rPr lang="fr-FR" dirty="0"/>
              <a:t>Septembre 2022</a:t>
            </a:r>
          </a:p>
        </p:txBody>
      </p:sp>
      <p:sp>
        <p:nvSpPr>
          <p:cNvPr id="6" name="Espace réservé du pied de page 5">
            <a:extLst>
              <a:ext uri="{FF2B5EF4-FFF2-40B4-BE49-F238E27FC236}">
                <a16:creationId xmlns:a16="http://schemas.microsoft.com/office/drawing/2014/main" id="{320BED2D-7391-1251-DA71-37BB01D9D164}"/>
              </a:ext>
            </a:extLst>
          </p:cNvPr>
          <p:cNvSpPr>
            <a:spLocks noGrp="1"/>
          </p:cNvSpPr>
          <p:nvPr>
            <p:ph type="ftr" sz="quarter" idx="11"/>
          </p:nvPr>
        </p:nvSpPr>
        <p:spPr/>
        <p:txBody>
          <a:bodyPr/>
          <a:lstStyle/>
          <a:p>
            <a:endParaRPr lang="fr-FR" dirty="0"/>
          </a:p>
        </p:txBody>
      </p:sp>
      <p:sp>
        <p:nvSpPr>
          <p:cNvPr id="7" name="Espace réservé du numéro de diapositive 6">
            <a:extLst>
              <a:ext uri="{FF2B5EF4-FFF2-40B4-BE49-F238E27FC236}">
                <a16:creationId xmlns:a16="http://schemas.microsoft.com/office/drawing/2014/main" id="{35E2280C-AB1A-1732-906E-599C377EABD9}"/>
              </a:ext>
            </a:extLst>
          </p:cNvPr>
          <p:cNvSpPr>
            <a:spLocks noGrp="1"/>
          </p:cNvSpPr>
          <p:nvPr>
            <p:ph type="sldNum" sz="quarter" idx="12"/>
          </p:nvPr>
        </p:nvSpPr>
        <p:spPr/>
        <p:txBody>
          <a:bodyPr/>
          <a:lstStyle/>
          <a:p>
            <a:fld id="{9E310995-06A9-4914-9918-BFF4546A1EC5}" type="slidenum">
              <a:rPr lang="fr-FR" smtClean="0"/>
              <a:t>‹N°›</a:t>
            </a:fld>
            <a:endParaRPr lang="fr-FR" dirty="0"/>
          </a:p>
        </p:txBody>
      </p:sp>
    </p:spTree>
    <p:extLst>
      <p:ext uri="{BB962C8B-B14F-4D97-AF65-F5344CB8AC3E}">
        <p14:creationId xmlns:p14="http://schemas.microsoft.com/office/powerpoint/2010/main" val="2190997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90E9A339-994C-0312-776E-88D1EAE241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25544BD1-D3E9-CA70-EE5D-E84085C2A2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BFD089F1-5EED-77DB-424B-B83C057FAF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dirty="0"/>
              <a:t>Septembre 2022</a:t>
            </a:r>
          </a:p>
        </p:txBody>
      </p:sp>
      <p:sp>
        <p:nvSpPr>
          <p:cNvPr id="5" name="Espace réservé du pied de page 4">
            <a:extLst>
              <a:ext uri="{FF2B5EF4-FFF2-40B4-BE49-F238E27FC236}">
                <a16:creationId xmlns:a16="http://schemas.microsoft.com/office/drawing/2014/main" id="{D249B216-A223-79A1-B083-9F44CB7C75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dirty="0"/>
          </a:p>
        </p:txBody>
      </p:sp>
      <p:sp>
        <p:nvSpPr>
          <p:cNvPr id="6" name="Espace réservé du numéro de diapositive 5">
            <a:extLst>
              <a:ext uri="{FF2B5EF4-FFF2-40B4-BE49-F238E27FC236}">
                <a16:creationId xmlns:a16="http://schemas.microsoft.com/office/drawing/2014/main" id="{DEC7E249-B5FA-E2A8-FDF2-ADA9493BFC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310995-06A9-4914-9918-BFF4546A1EC5}" type="slidenum">
              <a:rPr lang="fr-FR" smtClean="0"/>
              <a:t>‹N°›</a:t>
            </a:fld>
            <a:endParaRPr lang="fr-FR" dirty="0"/>
          </a:p>
        </p:txBody>
      </p:sp>
    </p:spTree>
    <p:extLst>
      <p:ext uri="{BB962C8B-B14F-4D97-AF65-F5344CB8AC3E}">
        <p14:creationId xmlns:p14="http://schemas.microsoft.com/office/powerpoint/2010/main" val="20419388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www.fatf-gafi.org/media/fatf/documents/reports/Guidance-transparency-beneficial-ownership.pdf"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hyperlink" Target="https://www.transparency.org/en/countries/cameroon" TargetMode="External"/><Relationship Id="rId2" Type="http://schemas.openxmlformats.org/officeDocument/2006/relationships/hyperlink" Target="https://resourcegovernanceindex.org/country-profiles/CMR/oil-gas?years=2017"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fatf-gafi.org/media/fatf/documents/reports/mer-fsrb/GABAC-French-Mutual-Evaluation-Report-Cameroun-2022.pdf"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5">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Picture 2" descr="Bénéficiaire effectif : Tout savoir sur le bénéficiaire effectif">
            <a:extLst>
              <a:ext uri="{FF2B5EF4-FFF2-40B4-BE49-F238E27FC236}">
                <a16:creationId xmlns:a16="http://schemas.microsoft.com/office/drawing/2014/main" id="{127543E2-04C8-5728-ACC0-3FE1B07B1548}"/>
              </a:ext>
            </a:extLst>
          </p:cNvPr>
          <p:cNvPicPr>
            <a:picLocks noChangeAspect="1" noChangeArrowheads="1"/>
          </p:cNvPicPr>
          <p:nvPr/>
        </p:nvPicPr>
        <p:blipFill rotWithShape="1">
          <a:blip r:embed="rId2">
            <a:alphaModFix/>
            <a:extLst>
              <a:ext uri="{BEBA8EAE-BF5A-486C-A8C5-ECC9F3942E4B}">
                <a14:imgProps xmlns:a14="http://schemas.microsoft.com/office/drawing/2010/main">
                  <a14:imgLayer r:embed="rId3">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t="3226" r="34862" b="-1"/>
          <a:stretch/>
        </p:blipFill>
        <p:spPr bwMode="auto">
          <a:xfrm>
            <a:off x="0" y="0"/>
            <a:ext cx="12192000" cy="685799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itre 3">
            <a:extLst>
              <a:ext uri="{FF2B5EF4-FFF2-40B4-BE49-F238E27FC236}">
                <a16:creationId xmlns:a16="http://schemas.microsoft.com/office/drawing/2014/main" id="{F72F3C49-BBCE-C2B2-9E20-289218593435}"/>
              </a:ext>
            </a:extLst>
          </p:cNvPr>
          <p:cNvSpPr>
            <a:spLocks noGrp="1"/>
          </p:cNvSpPr>
          <p:nvPr>
            <p:ph type="ctrTitle"/>
          </p:nvPr>
        </p:nvSpPr>
        <p:spPr>
          <a:xfrm>
            <a:off x="630380" y="5758423"/>
            <a:ext cx="5360757" cy="829443"/>
          </a:xfrm>
        </p:spPr>
        <p:txBody>
          <a:bodyPr vert="horz" lIns="91440" tIns="45720" rIns="91440" bIns="45720" rtlCol="0" anchor="b">
            <a:normAutofit/>
          </a:bodyPr>
          <a:lstStyle/>
          <a:p>
            <a:pPr algn="l">
              <a:spcAft>
                <a:spcPts val="600"/>
              </a:spcAft>
            </a:pPr>
            <a:r>
              <a:rPr lang="fr-FR" sz="1500" b="1" dirty="0">
                <a:solidFill>
                  <a:srgbClr val="404040"/>
                </a:solidFill>
              </a:rPr>
              <a:t>Karim Lourimi</a:t>
            </a:r>
            <a:br>
              <a:rPr lang="fr-FR" sz="1300" b="1" dirty="0">
                <a:solidFill>
                  <a:srgbClr val="404040"/>
                </a:solidFill>
              </a:rPr>
            </a:br>
            <a:r>
              <a:rPr lang="fr-FR" sz="1300" b="1" dirty="0">
                <a:solidFill>
                  <a:srgbClr val="404040"/>
                </a:solidFill>
              </a:rPr>
              <a:t>k.lourimi@enerteam.tn </a:t>
            </a:r>
          </a:p>
        </p:txBody>
      </p:sp>
      <p:sp>
        <p:nvSpPr>
          <p:cNvPr id="20" name="Rectangle 19">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12" descr="A picture containing text, clipart&#10;&#10;Description automatically generated">
            <a:extLst>
              <a:ext uri="{FF2B5EF4-FFF2-40B4-BE49-F238E27FC236}">
                <a16:creationId xmlns:a16="http://schemas.microsoft.com/office/drawing/2014/main" id="{9CF1346E-51AE-B1FB-A876-0BE9E8FC8D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19327" y="6133456"/>
            <a:ext cx="2363098" cy="365125"/>
          </a:xfrm>
          <a:prstGeom prst="rect">
            <a:avLst/>
          </a:prstGeom>
        </p:spPr>
      </p:pic>
      <p:sp>
        <p:nvSpPr>
          <p:cNvPr id="17" name="ZoneTexte 16">
            <a:extLst>
              <a:ext uri="{FF2B5EF4-FFF2-40B4-BE49-F238E27FC236}">
                <a16:creationId xmlns:a16="http://schemas.microsoft.com/office/drawing/2014/main" id="{6334DCF9-D032-4345-3039-18C1D8C854DE}"/>
              </a:ext>
            </a:extLst>
          </p:cNvPr>
          <p:cNvSpPr txBox="1"/>
          <p:nvPr/>
        </p:nvSpPr>
        <p:spPr>
          <a:xfrm>
            <a:off x="409575" y="502139"/>
            <a:ext cx="914400" cy="39980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Titre 3">
            <a:extLst>
              <a:ext uri="{FF2B5EF4-FFF2-40B4-BE49-F238E27FC236}">
                <a16:creationId xmlns:a16="http://schemas.microsoft.com/office/drawing/2014/main" id="{02390CCD-8B7C-076B-5CC0-AE12E521AD52}"/>
              </a:ext>
            </a:extLst>
          </p:cNvPr>
          <p:cNvSpPr txBox="1">
            <a:spLocks/>
          </p:cNvSpPr>
          <p:nvPr/>
        </p:nvSpPr>
        <p:spPr>
          <a:xfrm>
            <a:off x="630379" y="1274763"/>
            <a:ext cx="5963367" cy="3204134"/>
          </a:xfrm>
          <a:prstGeom prst="rect">
            <a:avLst/>
          </a:prstGeom>
        </p:spPr>
        <p:txBody>
          <a:bodyPr vert="horz" lIns="91440" tIns="45720" rIns="91440" bIns="45720" rtlCol="0" anchor="b">
            <a:normAutofit fontScale="9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sz="4800" b="0" i="0" u="none" strike="noStrike" kern="1200" cap="none" spc="0" normalizeH="0" baseline="0" noProof="0" dirty="0">
              <a:ln>
                <a:noFill/>
              </a:ln>
              <a:solidFill>
                <a:prstClr val="black"/>
              </a:solidFill>
              <a:effectLst/>
              <a:uLnTx/>
              <a:uFillTx/>
              <a:latin typeface="Calibri Light" panose="020F0302020204030204"/>
              <a:ea typeface="+mj-ea"/>
              <a:cs typeface="+mj-cs"/>
            </a:endParaRPr>
          </a:p>
          <a:p>
            <a:pPr marL="0" marR="0" lvl="0" indent="0" algn="l" defTabSz="914400" rtl="0" eaLnBrk="1" fontAlgn="auto" latinLnBrk="0" hangingPunct="1">
              <a:lnSpc>
                <a:spcPct val="110000"/>
              </a:lnSpc>
              <a:spcBef>
                <a:spcPct val="0"/>
              </a:spcBef>
              <a:spcAft>
                <a:spcPts val="600"/>
              </a:spcAft>
              <a:buClrTx/>
              <a:buSzTx/>
              <a:buFontTx/>
              <a:buNone/>
              <a:tabLst/>
              <a:defRPr/>
            </a:pPr>
            <a:r>
              <a:rPr lang="fr-FR" sz="5300" b="1" dirty="0">
                <a:solidFill>
                  <a:srgbClr val="61BC4D"/>
                </a:solidFill>
                <a:latin typeface="Kohinoor Devanagari" panose="02000000000000000000" pitchFamily="50" charset="0"/>
                <a:cs typeface="Kohinoor Devanagari" panose="02000000000000000000" pitchFamily="50" charset="0"/>
              </a:rPr>
              <a:t>Défis de la divulgation de la </a:t>
            </a:r>
            <a:r>
              <a:rPr kumimoji="0" lang="fr-FR" sz="5300" b="1" i="0" u="none" strike="noStrike" kern="1200" cap="none" spc="0" normalizeH="0" baseline="0" noProof="0" dirty="0">
                <a:ln>
                  <a:noFill/>
                </a:ln>
                <a:solidFill>
                  <a:srgbClr val="61BC4D"/>
                </a:solidFill>
                <a:effectLst/>
                <a:uLnTx/>
                <a:uFillTx/>
                <a:latin typeface="Kohinoor Devanagari" panose="02000000000000000000" pitchFamily="50" charset="0"/>
                <a:ea typeface="+mj-ea"/>
                <a:cs typeface="Kohinoor Devanagari" panose="02000000000000000000" pitchFamily="50" charset="0"/>
              </a:rPr>
              <a:t>propriété effective au </a:t>
            </a:r>
            <a:r>
              <a:rPr lang="fr-FR" sz="5300" b="1" dirty="0">
                <a:solidFill>
                  <a:srgbClr val="61BC4D"/>
                </a:solidFill>
                <a:latin typeface="Kohinoor Devanagari" panose="02000000000000000000" pitchFamily="50" charset="0"/>
                <a:cs typeface="Kohinoor Devanagari" panose="02000000000000000000" pitchFamily="50" charset="0"/>
              </a:rPr>
              <a:t>Cameroun</a:t>
            </a:r>
            <a:endParaRPr kumimoji="0" lang="fr-FR" sz="5300" b="1" i="0" u="none" strike="noStrike" kern="1200" cap="none" spc="0" normalizeH="0" baseline="0" noProof="0" dirty="0">
              <a:ln>
                <a:noFill/>
              </a:ln>
              <a:solidFill>
                <a:srgbClr val="404040"/>
              </a:solidFill>
              <a:effectLst/>
              <a:uLnTx/>
              <a:uFillTx/>
              <a:latin typeface="Calibri Light" panose="020F0302020204030204"/>
              <a:ea typeface="+mj-ea"/>
              <a:cs typeface="+mj-cs"/>
            </a:endParaRPr>
          </a:p>
        </p:txBody>
      </p:sp>
      <p:sp>
        <p:nvSpPr>
          <p:cNvPr id="3" name="ZoneTexte 2">
            <a:extLst>
              <a:ext uri="{FF2B5EF4-FFF2-40B4-BE49-F238E27FC236}">
                <a16:creationId xmlns:a16="http://schemas.microsoft.com/office/drawing/2014/main" id="{A2501C5D-39E7-84EE-0183-5C165F238ABA}"/>
              </a:ext>
            </a:extLst>
          </p:cNvPr>
          <p:cNvSpPr txBox="1"/>
          <p:nvPr/>
        </p:nvSpPr>
        <p:spPr>
          <a:xfrm>
            <a:off x="630380" y="4994912"/>
            <a:ext cx="6096000" cy="369332"/>
          </a:xfrm>
          <a:prstGeom prst="rect">
            <a:avLst/>
          </a:prstGeom>
          <a:noFill/>
        </p:spPr>
        <p:txBody>
          <a:bodyPr wrap="square">
            <a:spAutoFit/>
          </a:bodyPr>
          <a:lstStyle/>
          <a:p>
            <a:r>
              <a:rPr lang="fr-FR" b="1" dirty="0">
                <a:solidFill>
                  <a:srgbClr val="404040"/>
                </a:solidFill>
              </a:rPr>
              <a:t>Yaoundé</a:t>
            </a:r>
            <a:r>
              <a:rPr lang="fr-FR" sz="1800" b="1" dirty="0">
                <a:solidFill>
                  <a:srgbClr val="404040"/>
                </a:solidFill>
              </a:rPr>
              <a:t>, 14 Décembre 2022</a:t>
            </a:r>
            <a:endParaRPr lang="fr-FR" dirty="0"/>
          </a:p>
        </p:txBody>
      </p:sp>
      <p:pic>
        <p:nvPicPr>
          <p:cNvPr id="7" name="Picture 6" descr="Armoiries du Cameroun — Wikipédia">
            <a:extLst>
              <a:ext uri="{FF2B5EF4-FFF2-40B4-BE49-F238E27FC236}">
                <a16:creationId xmlns:a16="http://schemas.microsoft.com/office/drawing/2014/main" id="{7B5D4E18-CF55-35BE-D4F3-47BA742F3E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4838" y="262693"/>
            <a:ext cx="1128712" cy="12784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164344B2-C2A2-D7D8-94D3-D869AE94D00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323355" y="451579"/>
            <a:ext cx="1459070" cy="977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4617042"/>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C55F823-BC8D-4099-BD4B-BF1AB9C2E899}"/>
              </a:ext>
            </a:extLst>
          </p:cNvPr>
          <p:cNvGraphicFramePr>
            <a:graphicFrameLocks noChangeAspect="1"/>
          </p:cNvGraphicFramePr>
          <p:nvPr>
            <p:custDataLst>
              <p:tags r:id="rId1"/>
            </p:custDataLst>
          </p:nvPr>
        </p:nvGraphicFramePr>
        <p:xfrm>
          <a:off x="768585" y="2044"/>
          <a:ext cx="2044" cy="2044"/>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4" name="Objet 3" hidden="1">
                        <a:extLst>
                          <a:ext uri="{FF2B5EF4-FFF2-40B4-BE49-F238E27FC236}">
                            <a16:creationId xmlns:a16="http://schemas.microsoft.com/office/drawing/2014/main" id="{1C55F823-BC8D-4099-BD4B-BF1AB9C2E899}"/>
                          </a:ext>
                        </a:extLst>
                      </p:cNvPr>
                      <p:cNvPicPr/>
                      <p:nvPr/>
                    </p:nvPicPr>
                    <p:blipFill>
                      <a:blip r:embed="rId5"/>
                      <a:stretch>
                        <a:fillRect/>
                      </a:stretch>
                    </p:blipFill>
                    <p:spPr>
                      <a:xfrm>
                        <a:off x="768585" y="2044"/>
                        <a:ext cx="2044" cy="2044"/>
                      </a:xfrm>
                      <a:prstGeom prst="rect">
                        <a:avLst/>
                      </a:prstGeom>
                    </p:spPr>
                  </p:pic>
                </p:oleObj>
              </mc:Fallback>
            </mc:AlternateContent>
          </a:graphicData>
        </a:graphic>
      </p:graphicFrame>
      <p:sp>
        <p:nvSpPr>
          <p:cNvPr id="3" name="ZoneTexte 2">
            <a:extLst>
              <a:ext uri="{FF2B5EF4-FFF2-40B4-BE49-F238E27FC236}">
                <a16:creationId xmlns:a16="http://schemas.microsoft.com/office/drawing/2014/main" id="{B0262F37-0681-4BD1-8ED1-0B5A907E86C9}"/>
              </a:ext>
            </a:extLst>
          </p:cNvPr>
          <p:cNvSpPr txBox="1"/>
          <p:nvPr/>
        </p:nvSpPr>
        <p:spPr>
          <a:xfrm>
            <a:off x="236234" y="2799002"/>
            <a:ext cx="5290326" cy="769441"/>
          </a:xfrm>
          <a:prstGeom prst="rect">
            <a:avLst/>
          </a:prstGeom>
          <a:solidFill>
            <a:srgbClr val="404040"/>
          </a:solidFill>
        </p:spPr>
        <p:txBody>
          <a:bodyPr wrap="square" rtlCol="0">
            <a:spAutoFit/>
          </a:bodyPr>
          <a:lstStyle/>
          <a:p>
            <a:pPr marL="857250" indent="-857250">
              <a:buFont typeface="+mj-lt"/>
              <a:buAutoNum type="romanUcPeriod" startAt="3"/>
            </a:pPr>
            <a:r>
              <a:rPr lang="fr-FR" sz="4400" b="1" dirty="0">
                <a:solidFill>
                  <a:schemeClr val="bg1"/>
                </a:solidFill>
              </a:rPr>
              <a:t>Défis &amp; Obstacles</a:t>
            </a:r>
          </a:p>
        </p:txBody>
      </p:sp>
      <p:pic>
        <p:nvPicPr>
          <p:cNvPr id="5" name="Picture 12" descr="A picture containing text, clipart&#10;&#10;Description automatically generated">
            <a:extLst>
              <a:ext uri="{FF2B5EF4-FFF2-40B4-BE49-F238E27FC236}">
                <a16:creationId xmlns:a16="http://schemas.microsoft.com/office/drawing/2014/main" id="{B3C7C647-B058-71B4-B600-4F5C30ACABC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24469" y="6129726"/>
            <a:ext cx="2363098" cy="365125"/>
          </a:xfrm>
          <a:prstGeom prst="rect">
            <a:avLst/>
          </a:prstGeom>
        </p:spPr>
      </p:pic>
    </p:spTree>
    <p:extLst>
      <p:ext uri="{BB962C8B-B14F-4D97-AF65-F5344CB8AC3E}">
        <p14:creationId xmlns:p14="http://schemas.microsoft.com/office/powerpoint/2010/main" val="857860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Défis </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Absence de cadre légal</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11</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753033" y="1507534"/>
            <a:ext cx="10600767" cy="2759730"/>
          </a:xfrm>
          <a:prstGeom prst="rect">
            <a:avLst/>
          </a:prstGeom>
          <a:noFill/>
        </p:spPr>
        <p:txBody>
          <a:bodyPr wrap="square">
            <a:spAutoFit/>
          </a:bodyPr>
          <a:lstStyle/>
          <a:p>
            <a:pPr algn="just">
              <a:spcBef>
                <a:spcPts val="600"/>
              </a:spcBef>
              <a:spcAft>
                <a:spcPts val="600"/>
              </a:spcAft>
            </a:pPr>
            <a:r>
              <a:rPr lang="fr-FR" sz="2000" dirty="0">
                <a:solidFill>
                  <a:srgbClr val="404040"/>
                </a:solidFill>
                <a:effectLst/>
                <a:latin typeface="Kohinoor Devanagari" panose="02000000000000000000"/>
                <a:ea typeface="Times New Roman" panose="02020603050405020304" pitchFamily="18" charset="0"/>
              </a:rPr>
              <a:t>En dehors de l’ITIE, le </a:t>
            </a:r>
            <a:r>
              <a:rPr lang="fr-FR" sz="2000" dirty="0">
                <a:solidFill>
                  <a:srgbClr val="404040"/>
                </a:solidFill>
                <a:latin typeface="Kohinoor Devanagari" panose="02000000000000000000"/>
                <a:ea typeface="Times New Roman" panose="02020603050405020304" pitchFamily="18" charset="0"/>
              </a:rPr>
              <a:t>Cameroun</a:t>
            </a:r>
            <a:r>
              <a:rPr lang="fr-FR" sz="2000" dirty="0">
                <a:solidFill>
                  <a:srgbClr val="404040"/>
                </a:solidFill>
                <a:effectLst/>
                <a:latin typeface="Kohinoor Devanagari" panose="02000000000000000000"/>
                <a:ea typeface="Times New Roman" panose="02020603050405020304" pitchFamily="18" charset="0"/>
              </a:rPr>
              <a:t> ne dispose pas de mécanisme permettant la collecte systématique des informations </a:t>
            </a:r>
            <a:r>
              <a:rPr lang="fr-FR" sz="2000" dirty="0">
                <a:solidFill>
                  <a:srgbClr val="404040"/>
                </a:solidFill>
                <a:latin typeface="Kohinoor Devanagari" panose="02000000000000000000"/>
                <a:ea typeface="Times New Roman" panose="02020603050405020304" pitchFamily="18" charset="0"/>
              </a:rPr>
              <a:t>exhaustives </a:t>
            </a:r>
            <a:r>
              <a:rPr lang="fr-FR" sz="2000" dirty="0">
                <a:solidFill>
                  <a:srgbClr val="404040"/>
                </a:solidFill>
                <a:effectLst/>
                <a:latin typeface="Kohinoor Devanagari" panose="02000000000000000000"/>
                <a:ea typeface="Times New Roman" panose="02020603050405020304" pitchFamily="18" charset="0"/>
              </a:rPr>
              <a:t>et à jour sur les bénéficiaires effectifs des personnes morales. </a:t>
            </a:r>
            <a:endParaRPr lang="fr-FR" sz="2000" dirty="0">
              <a:solidFill>
                <a:srgbClr val="404040"/>
              </a:solidFill>
              <a:effectLst/>
              <a:latin typeface="Arial" panose="020B0604020202020204" pitchFamily="34" charset="0"/>
              <a:ea typeface="Times New Roman" panose="02020603050405020304" pitchFamily="18" charset="0"/>
            </a:endParaRPr>
          </a:p>
          <a:p>
            <a:pPr algn="just">
              <a:spcBef>
                <a:spcPts val="600"/>
              </a:spcBef>
              <a:spcAft>
                <a:spcPts val="600"/>
              </a:spcAft>
            </a:pPr>
            <a:r>
              <a:rPr lang="fr-FR" sz="2000" dirty="0">
                <a:solidFill>
                  <a:srgbClr val="404040"/>
                </a:solidFill>
                <a:latin typeface="Kohinoor Devanagari" panose="02000000000000000000"/>
                <a:ea typeface="Times New Roman" panose="02020603050405020304" pitchFamily="18" charset="0"/>
              </a:rPr>
              <a:t>L</a:t>
            </a:r>
            <a:r>
              <a:rPr lang="fr-FR" sz="2000" dirty="0">
                <a:solidFill>
                  <a:srgbClr val="404040"/>
                </a:solidFill>
                <a:effectLst/>
                <a:latin typeface="Kohinoor Devanagari" panose="02000000000000000000"/>
                <a:ea typeface="Times New Roman" panose="02020603050405020304" pitchFamily="18" charset="0"/>
              </a:rPr>
              <a:t>’approche volontaire à travers le rapportage ITIE a montré ses limites en raison du caractère non contraignant et l’inc</a:t>
            </a:r>
            <a:r>
              <a:rPr lang="fr-FR" sz="2000" dirty="0">
                <a:solidFill>
                  <a:srgbClr val="404040"/>
                </a:solidFill>
                <a:latin typeface="Kohinoor Devanagari" panose="02000000000000000000"/>
                <a:ea typeface="Times New Roman" panose="02020603050405020304" pitchFamily="18" charset="0"/>
              </a:rPr>
              <a:t>apacité de l’ITIE de gérer les déclarations dans le cadre d’une démarche exhaustive comme l’exige le Norme ITIE.  </a:t>
            </a:r>
          </a:p>
          <a:p>
            <a:pPr algn="just">
              <a:spcBef>
                <a:spcPts val="600"/>
              </a:spcBef>
              <a:spcAft>
                <a:spcPts val="600"/>
              </a:spcAft>
            </a:pPr>
            <a:endParaRPr lang="fr-FR" sz="2000" dirty="0">
              <a:solidFill>
                <a:srgbClr val="404040"/>
              </a:solidFill>
              <a:effectLst/>
              <a:latin typeface="Arial" panose="020B0604020202020204" pitchFamily="34" charset="0"/>
              <a:ea typeface="Times New Roman" panose="02020603050405020304" pitchFamily="18" charset="0"/>
            </a:endParaRPr>
          </a:p>
          <a:p>
            <a:pPr lvl="1" algn="just">
              <a:spcBef>
                <a:spcPts val="1000"/>
              </a:spcBef>
              <a:spcAft>
                <a:spcPts val="1000"/>
              </a:spcAft>
            </a:pPr>
            <a:r>
              <a:rPr lang="fr-FR" sz="2000" b="1" dirty="0">
                <a:solidFill>
                  <a:srgbClr val="404040"/>
                </a:solidFill>
                <a:effectLst/>
                <a:latin typeface="Kohinoor Devanagari" panose="02000000000000000000"/>
                <a:cs typeface="Times New Roman" panose="02020603050405020304" pitchFamily="18" charset="0"/>
              </a:rPr>
              <a:t> </a:t>
            </a:r>
            <a:endParaRPr lang="fr-FR" sz="2000" b="1" dirty="0">
              <a:solidFill>
                <a:srgbClr val="404040"/>
              </a:solidFill>
              <a:effectLst/>
              <a:latin typeface="Arial" panose="020B0604020202020204" pitchFamily="34" charset="0"/>
              <a:cs typeface="Times New Roman" panose="02020603050405020304" pitchFamily="18" charset="0"/>
            </a:endParaRPr>
          </a:p>
        </p:txBody>
      </p:sp>
      <p:sp>
        <p:nvSpPr>
          <p:cNvPr id="3" name="ZoneTexte 2">
            <a:extLst>
              <a:ext uri="{FF2B5EF4-FFF2-40B4-BE49-F238E27FC236}">
                <a16:creationId xmlns:a16="http://schemas.microsoft.com/office/drawing/2014/main" id="{CEF314BF-4B51-E830-96B6-CF2E120304F3}"/>
              </a:ext>
            </a:extLst>
          </p:cNvPr>
          <p:cNvSpPr txBox="1"/>
          <p:nvPr/>
        </p:nvSpPr>
        <p:spPr>
          <a:xfrm>
            <a:off x="838200" y="3343160"/>
            <a:ext cx="10600767" cy="3539430"/>
          </a:xfrm>
          <a:prstGeom prst="rect">
            <a:avLst/>
          </a:prstGeom>
          <a:noFill/>
        </p:spPr>
        <p:txBody>
          <a:bodyPr wrap="square">
            <a:spAutoFit/>
          </a:bodyPr>
          <a:lstStyle/>
          <a:p>
            <a:pPr algn="just">
              <a:spcBef>
                <a:spcPts val="600"/>
              </a:spcBef>
              <a:spcAft>
                <a:spcPts val="600"/>
              </a:spcAft>
            </a:pPr>
            <a:r>
              <a:rPr lang="fr-FR" sz="2400" b="1" dirty="0">
                <a:solidFill>
                  <a:srgbClr val="FF0000"/>
                </a:solidFill>
                <a:latin typeface="Kohinoor Devanagari" panose="02000000000000000000" pitchFamily="50" charset="0"/>
              </a:rPr>
              <a:t>Avancée</a:t>
            </a:r>
            <a:endParaRPr lang="fr-FR" sz="2400" dirty="0">
              <a:effectLst/>
              <a:latin typeface="Kohinoor Devanagari" panose="02000000000000000000"/>
              <a:ea typeface="Times New Roman" panose="02020603050405020304" pitchFamily="18" charset="0"/>
            </a:endParaRPr>
          </a:p>
          <a:p>
            <a:pPr algn="just">
              <a:spcBef>
                <a:spcPts val="600"/>
              </a:spcBef>
              <a:spcAft>
                <a:spcPts val="600"/>
              </a:spcAft>
            </a:pPr>
            <a:r>
              <a:rPr lang="fr-FR" sz="2000" dirty="0">
                <a:solidFill>
                  <a:srgbClr val="404040"/>
                </a:solidFill>
                <a:latin typeface="Kohinoor Devanagari" panose="02000000000000000000"/>
              </a:rPr>
              <a:t>Le projet de loi de finance pour l’année 2023 a prévu une disposition portant obligation pour : </a:t>
            </a:r>
          </a:p>
          <a:p>
            <a:pPr marL="285750" indent="-285750" algn="just">
              <a:spcBef>
                <a:spcPts val="300"/>
              </a:spcBef>
              <a:spcAft>
                <a:spcPts val="300"/>
              </a:spcAft>
              <a:buFont typeface="Arial" panose="020B0604020202020204" pitchFamily="34" charset="0"/>
              <a:buChar char="•"/>
            </a:pPr>
            <a:r>
              <a:rPr lang="fr-FR" sz="2000" dirty="0">
                <a:solidFill>
                  <a:srgbClr val="404040"/>
                </a:solidFill>
                <a:latin typeface="Kohinoor Devanagari" panose="02000000000000000000"/>
              </a:rPr>
              <a:t>les personnes morales d’identifier leurs BE et de tenir un registre à cet effet.</a:t>
            </a:r>
          </a:p>
          <a:p>
            <a:pPr marL="285750" indent="-285750" algn="just">
              <a:spcBef>
                <a:spcPts val="300"/>
              </a:spcBef>
              <a:spcAft>
                <a:spcPts val="300"/>
              </a:spcAft>
              <a:buFont typeface="Arial" panose="020B0604020202020204" pitchFamily="34" charset="0"/>
              <a:buChar char="•"/>
            </a:pPr>
            <a:r>
              <a:rPr lang="fr-FR" sz="2000" dirty="0">
                <a:solidFill>
                  <a:srgbClr val="404040"/>
                </a:solidFill>
                <a:latin typeface="Kohinoor Devanagari" panose="02000000000000000000"/>
              </a:rPr>
              <a:t>les BE de communiquer aux personnes morales les informations nécessaires à leurs identifications</a:t>
            </a:r>
          </a:p>
          <a:p>
            <a:pPr marL="285750" indent="-285750" algn="just">
              <a:spcBef>
                <a:spcPts val="300"/>
              </a:spcBef>
              <a:spcAft>
                <a:spcPts val="300"/>
              </a:spcAft>
              <a:buFont typeface="Arial" panose="020B0604020202020204" pitchFamily="34" charset="0"/>
              <a:buChar char="•"/>
            </a:pPr>
            <a:r>
              <a:rPr lang="fr-FR" sz="2000" dirty="0">
                <a:solidFill>
                  <a:srgbClr val="404040"/>
                </a:solidFill>
                <a:latin typeface="Kohinoor Devanagari" panose="02000000000000000000"/>
              </a:rPr>
              <a:t>les personnes morales de déclarer à l’administration fiscale les renseignements nécessaires à l’identification de leurs BE sous peine d’amende prévu par l’article L99 du livre des procédures fiscaux dans un délais de 30 jours à partir de l’immatriculation et le 15 mars de chaque année</a:t>
            </a:r>
          </a:p>
          <a:p>
            <a:pPr algn="just">
              <a:spcBef>
                <a:spcPts val="600"/>
              </a:spcBef>
              <a:spcAft>
                <a:spcPts val="600"/>
              </a:spcAft>
            </a:pPr>
            <a:r>
              <a:rPr lang="fr-FR" sz="2000" dirty="0">
                <a:solidFill>
                  <a:srgbClr val="404040"/>
                </a:solidFill>
                <a:latin typeface="Kohinoor Devanagari" panose="02000000000000000000"/>
              </a:rPr>
              <a:t>Les modalités de mise en  œuvre seront prévues par un texte particulier. </a:t>
            </a:r>
          </a:p>
          <a:p>
            <a:pPr algn="l">
              <a:spcAft>
                <a:spcPts val="1200"/>
              </a:spcAft>
            </a:pPr>
            <a:r>
              <a:rPr lang="fr-FR" sz="2000" dirty="0">
                <a:solidFill>
                  <a:srgbClr val="404040"/>
                </a:solidFill>
                <a:effectLst/>
                <a:latin typeface="Kohinoor Devanagari" panose="02000000000000000000"/>
                <a:ea typeface="Times New Roman" panose="02020603050405020304" pitchFamily="18" charset="0"/>
              </a:rPr>
              <a:t> </a:t>
            </a:r>
            <a:endParaRPr lang="fr-FR" sz="2000" dirty="0">
              <a:solidFill>
                <a:srgbClr val="404040"/>
              </a:solidFill>
              <a:effectLst/>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89622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Défi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Sensibilité des données sur les PPE</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12</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845312" y="1541090"/>
            <a:ext cx="10600767" cy="3508653"/>
          </a:xfrm>
          <a:prstGeom prst="rect">
            <a:avLst/>
          </a:prstGeom>
          <a:noFill/>
        </p:spPr>
        <p:txBody>
          <a:bodyPr wrap="square">
            <a:spAutoFit/>
          </a:bodyPr>
          <a:lstStyle/>
          <a:p>
            <a:pPr marL="285750" indent="-285750" algn="just">
              <a:spcBef>
                <a:spcPts val="600"/>
              </a:spcBef>
              <a:spcAft>
                <a:spcPts val="600"/>
              </a:spcAft>
              <a:buFont typeface="Arial" panose="020B0604020202020204" pitchFamily="34" charset="0"/>
              <a:buChar char="•"/>
            </a:pPr>
            <a:r>
              <a:rPr lang="fr-FR" sz="2000" dirty="0">
                <a:solidFill>
                  <a:srgbClr val="404040"/>
                </a:solidFill>
                <a:latin typeface="Kohinoor Devanagari" panose="02000000000000000000"/>
              </a:rPr>
              <a:t>La sensibilité des PPE pourrait être un obstacle à l’adoption d’une loi permettant l’identification des PPE dans un registre public. </a:t>
            </a:r>
          </a:p>
          <a:p>
            <a:pPr marL="285750" indent="-285750" algn="just">
              <a:spcBef>
                <a:spcPts val="600"/>
              </a:spcBef>
              <a:spcAft>
                <a:spcPts val="600"/>
              </a:spcAft>
              <a:buFont typeface="Arial" panose="020B0604020202020204" pitchFamily="34" charset="0"/>
              <a:buChar char="•"/>
            </a:pPr>
            <a:r>
              <a:rPr lang="fr-FR" sz="2000" dirty="0">
                <a:solidFill>
                  <a:srgbClr val="404040"/>
                </a:solidFill>
                <a:latin typeface="Kohinoor Devanagari" panose="02000000000000000000"/>
              </a:rPr>
              <a:t>La non mise en place de la CDBA, structure essentielle pour la vérification des déclarations se rapportant aux PPE </a:t>
            </a:r>
          </a:p>
          <a:p>
            <a:pPr algn="just">
              <a:spcBef>
                <a:spcPts val="600"/>
              </a:spcBef>
              <a:spcAft>
                <a:spcPts val="600"/>
              </a:spcAft>
            </a:pPr>
            <a:r>
              <a:rPr lang="fr-FR" sz="2400" b="1" dirty="0">
                <a:solidFill>
                  <a:srgbClr val="FF0000"/>
                </a:solidFill>
                <a:latin typeface="Kohinoor Devanagari" panose="02000000000000000000" pitchFamily="50" charset="0"/>
              </a:rPr>
              <a:t>Avancée</a:t>
            </a:r>
            <a:endParaRPr lang="fr-FR" sz="2400" dirty="0">
              <a:effectLst/>
              <a:latin typeface="Kohinoor Devanagari" panose="02000000000000000000"/>
              <a:ea typeface="Times New Roman" panose="02020603050405020304" pitchFamily="18" charset="0"/>
            </a:endParaRPr>
          </a:p>
          <a:p>
            <a:pPr marL="342900" indent="-342900" algn="just">
              <a:spcBef>
                <a:spcPts val="600"/>
              </a:spcBef>
              <a:spcAft>
                <a:spcPts val="600"/>
              </a:spcAft>
              <a:buFont typeface="Arial" panose="020B0604020202020204" pitchFamily="34" charset="0"/>
              <a:buChar char="•"/>
            </a:pPr>
            <a:r>
              <a:rPr lang="fr-FR" sz="2000" dirty="0">
                <a:solidFill>
                  <a:srgbClr val="404040"/>
                </a:solidFill>
                <a:latin typeface="Kohinoor Devanagari" panose="02000000000000000000"/>
              </a:rPr>
              <a:t>La règlement LBC/FT prévoit une définition des PPE étrangères et nationales. La Loi </a:t>
            </a:r>
            <a:r>
              <a:rPr lang="fr-FR" sz="2000" i="0" u="none" strike="noStrike" baseline="0" dirty="0">
                <a:solidFill>
                  <a:srgbClr val="404040"/>
                </a:solidFill>
                <a:latin typeface="Trebuchet MS" panose="020B0603020202020204" pitchFamily="34" charset="0"/>
              </a:rPr>
              <a:t>n°003/2006 du 25 avril 2006 prévoit une définition plus détaillées des PPE nationales.</a:t>
            </a:r>
          </a:p>
          <a:p>
            <a:pPr marL="342900" indent="-342900" algn="just">
              <a:spcBef>
                <a:spcPts val="600"/>
              </a:spcBef>
              <a:spcAft>
                <a:spcPts val="600"/>
              </a:spcAft>
              <a:buFont typeface="Arial" panose="020B0604020202020204" pitchFamily="34" charset="0"/>
              <a:buChar char="•"/>
            </a:pPr>
            <a:r>
              <a:rPr lang="fr-FR" sz="2000" dirty="0">
                <a:solidFill>
                  <a:srgbClr val="404040"/>
                </a:solidFill>
                <a:latin typeface="Trebuchet MS" panose="020B0603020202020204" pitchFamily="34" charset="0"/>
              </a:rPr>
              <a:t>Néanmoins, </a:t>
            </a:r>
            <a:r>
              <a:rPr lang="fr-FR" sz="2000" dirty="0">
                <a:solidFill>
                  <a:srgbClr val="404040"/>
                </a:solidFill>
                <a:latin typeface="Kohinoor Devanagari" panose="02000000000000000000"/>
              </a:rPr>
              <a:t>le projet de loi de finance ainsi que le guide de mise en œuvre du standard du BE n’abordent par l’identification et la déclaration des PPE.</a:t>
            </a:r>
          </a:p>
        </p:txBody>
      </p:sp>
    </p:spTree>
    <p:extLst>
      <p:ext uri="{BB962C8B-B14F-4D97-AF65-F5344CB8AC3E}">
        <p14:creationId xmlns:p14="http://schemas.microsoft.com/office/powerpoint/2010/main" val="41442760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Défi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Difficultés d’identification des BE</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13</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816737" y="1312752"/>
            <a:ext cx="10600767" cy="1669688"/>
          </a:xfrm>
          <a:prstGeom prst="rect">
            <a:avLst/>
          </a:prstGeom>
          <a:noFill/>
        </p:spPr>
        <p:txBody>
          <a:bodyPr wrap="square">
            <a:spAutoFit/>
          </a:bodyPr>
          <a:lstStyle/>
          <a:p>
            <a:pPr marL="285750" indent="-285750" algn="just">
              <a:spcBef>
                <a:spcPts val="600"/>
              </a:spcBef>
              <a:spcAft>
                <a:spcPts val="600"/>
              </a:spcAft>
              <a:buFont typeface="Arial" panose="020B0604020202020204" pitchFamily="34" charset="0"/>
              <a:buChar char="•"/>
            </a:pPr>
            <a:r>
              <a:rPr lang="fr-FR" sz="1850" dirty="0">
                <a:solidFill>
                  <a:srgbClr val="404040"/>
                </a:solidFill>
                <a:latin typeface="Kohinoor Devanagari" panose="02000000000000000000"/>
              </a:rPr>
              <a:t>L’identification des bénéficiaires effectifs nécessite une analyse des documents juridiques de l’entité déclarante et de toutes les entités au niveau de la chaine de participation. Cet exercice est d’autant plus complexe dans le secteur des industries extractives dominé par des multinationales disposant de structures de propriété complexes incluant des entités domiciliées dans d’autres juridictions.</a:t>
            </a:r>
          </a:p>
          <a:p>
            <a:pPr marL="285750" indent="-285750" algn="just">
              <a:spcBef>
                <a:spcPts val="600"/>
              </a:spcBef>
              <a:spcAft>
                <a:spcPts val="600"/>
              </a:spcAft>
              <a:buFont typeface="Arial" panose="020B0604020202020204" pitchFamily="34" charset="0"/>
              <a:buChar char="•"/>
            </a:pPr>
            <a:r>
              <a:rPr lang="fr-FR" sz="1850" dirty="0">
                <a:solidFill>
                  <a:srgbClr val="404040"/>
                </a:solidFill>
                <a:latin typeface="Kohinoor Devanagari" panose="02000000000000000000"/>
              </a:rPr>
              <a:t>L’ existence d’accords de portage </a:t>
            </a:r>
          </a:p>
        </p:txBody>
      </p:sp>
      <p:sp>
        <p:nvSpPr>
          <p:cNvPr id="3" name="ZoneTexte 2">
            <a:extLst>
              <a:ext uri="{FF2B5EF4-FFF2-40B4-BE49-F238E27FC236}">
                <a16:creationId xmlns:a16="http://schemas.microsoft.com/office/drawing/2014/main" id="{392D44E8-6503-14EF-66D0-E99EA8B0E4E5}"/>
              </a:ext>
            </a:extLst>
          </p:cNvPr>
          <p:cNvSpPr txBox="1"/>
          <p:nvPr/>
        </p:nvSpPr>
        <p:spPr>
          <a:xfrm>
            <a:off x="962025" y="3010586"/>
            <a:ext cx="10600768" cy="3770263"/>
          </a:xfrm>
          <a:prstGeom prst="rect">
            <a:avLst/>
          </a:prstGeom>
          <a:noFill/>
        </p:spPr>
        <p:txBody>
          <a:bodyPr wrap="square">
            <a:spAutoFit/>
          </a:bodyPr>
          <a:lstStyle/>
          <a:p>
            <a:pPr algn="just">
              <a:spcBef>
                <a:spcPts val="600"/>
              </a:spcBef>
              <a:spcAft>
                <a:spcPts val="600"/>
              </a:spcAft>
            </a:pPr>
            <a:r>
              <a:rPr lang="fr-FR" sz="2400" b="1" dirty="0">
                <a:solidFill>
                  <a:srgbClr val="FF0000"/>
                </a:solidFill>
                <a:latin typeface="Kohinoor Devanagari" panose="02000000000000000000" pitchFamily="50" charset="0"/>
              </a:rPr>
              <a:t>Avancées</a:t>
            </a:r>
            <a:endParaRPr lang="fr-FR" sz="2400" dirty="0">
              <a:effectLst/>
              <a:latin typeface="Kohinoor Devanagari" panose="02000000000000000000"/>
              <a:ea typeface="Times New Roman" panose="02020603050405020304" pitchFamily="18" charset="0"/>
            </a:endParaRPr>
          </a:p>
          <a:p>
            <a:pPr marL="342900" indent="-342900" algn="just">
              <a:spcBef>
                <a:spcPts val="600"/>
              </a:spcBef>
              <a:spcAft>
                <a:spcPts val="600"/>
              </a:spcAft>
              <a:buFont typeface="Arial" panose="020B0604020202020204" pitchFamily="34" charset="0"/>
              <a:buChar char="•"/>
            </a:pPr>
            <a:r>
              <a:rPr lang="fr-FR" sz="1850" dirty="0">
                <a:solidFill>
                  <a:srgbClr val="404040"/>
                </a:solidFill>
                <a:latin typeface="Kohinoor Devanagari" panose="02000000000000000000"/>
              </a:rPr>
              <a:t>Le projet de loi de finance pour l’année 2023 a prévu une obligation à la charge des BE de communiquer tous les renseignements nécessaires sur leurs identités. </a:t>
            </a:r>
          </a:p>
          <a:p>
            <a:pPr marL="342900" indent="-342900" algn="just">
              <a:spcBef>
                <a:spcPts val="600"/>
              </a:spcBef>
              <a:spcAft>
                <a:spcPts val="600"/>
              </a:spcAft>
              <a:buFont typeface="Arial" panose="020B0604020202020204" pitchFamily="34" charset="0"/>
              <a:buChar char="•"/>
            </a:pPr>
            <a:r>
              <a:rPr lang="fr-FR" sz="1850" dirty="0">
                <a:solidFill>
                  <a:srgbClr val="404040"/>
                </a:solidFill>
                <a:latin typeface="Kohinoor Devanagari" panose="02000000000000000000"/>
              </a:rPr>
              <a:t>Publication par le Comité Interministériel chargé de la préparation de l’évaluation du Cameroun pour le compte du second cycle par les pairs du forum mondial sur la transparence et l’échange de renseignements à des fins fiscales d’un Guide de mise en œuvre du Standard du bénéficiaire effectif incluant notamment des instructions sur l’identification des BE, la vérification des données des BE ainsi que sur la conservation et la mise à jour des données sur les BE. </a:t>
            </a:r>
          </a:p>
          <a:p>
            <a:pPr marL="342900" indent="-342900" algn="just">
              <a:spcBef>
                <a:spcPts val="600"/>
              </a:spcBef>
              <a:spcAft>
                <a:spcPts val="600"/>
              </a:spcAft>
              <a:buFont typeface="Arial" panose="020B0604020202020204" pitchFamily="34" charset="0"/>
              <a:buChar char="•"/>
            </a:pPr>
            <a:r>
              <a:rPr lang="fr-FR" sz="1850" dirty="0">
                <a:solidFill>
                  <a:srgbClr val="404040"/>
                </a:solidFill>
                <a:latin typeface="Kohinoor Devanagari" panose="02000000000000000000"/>
              </a:rPr>
              <a:t>Le Guide est destiné exclusivement aux assujettis à la réglementation LBC/FT. Bien que ce n’est pas explicitement mentionné dans le champ d’application, plusieurs aspects du Guide sont pertinents aux assujettis à la Norme ITIE.  </a:t>
            </a:r>
          </a:p>
        </p:txBody>
      </p:sp>
    </p:spTree>
    <p:extLst>
      <p:ext uri="{BB962C8B-B14F-4D97-AF65-F5344CB8AC3E}">
        <p14:creationId xmlns:p14="http://schemas.microsoft.com/office/powerpoint/2010/main" val="4254608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Défi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Harmonisation des textes</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14</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833046" y="1585801"/>
            <a:ext cx="10600767" cy="1477328"/>
          </a:xfrm>
          <a:prstGeom prst="rect">
            <a:avLst/>
          </a:prstGeom>
          <a:noFill/>
        </p:spPr>
        <p:txBody>
          <a:bodyPr wrap="square">
            <a:spAutoFit/>
          </a:bodyPr>
          <a:lstStyle/>
          <a:p>
            <a:pPr marL="285750" indent="-285750" algn="just">
              <a:spcBef>
                <a:spcPts val="600"/>
              </a:spcBef>
              <a:spcAft>
                <a:spcPts val="600"/>
              </a:spcAft>
              <a:buFont typeface="Arial" panose="020B0604020202020204" pitchFamily="34" charset="0"/>
              <a:buChar char="•"/>
            </a:pPr>
            <a:r>
              <a:rPr lang="fr-FR" sz="2000" dirty="0">
                <a:solidFill>
                  <a:srgbClr val="404040"/>
                </a:solidFill>
                <a:latin typeface="Kohinoor Devanagari" panose="02000000000000000000"/>
              </a:rPr>
              <a:t>Plusieurs définitions du BE sont prévus : Règlement CEMAC LCB/FT (pas de seuil), le Code minier (seuil de 5%)</a:t>
            </a:r>
          </a:p>
          <a:p>
            <a:pPr marL="285750" indent="-285750" algn="just">
              <a:spcBef>
                <a:spcPts val="600"/>
              </a:spcBef>
              <a:spcAft>
                <a:spcPts val="600"/>
              </a:spcAft>
              <a:buFont typeface="Arial" panose="020B0604020202020204" pitchFamily="34" charset="0"/>
              <a:buChar char="•"/>
            </a:pPr>
            <a:r>
              <a:rPr lang="fr-FR" sz="2000" dirty="0">
                <a:solidFill>
                  <a:srgbClr val="404040"/>
                </a:solidFill>
                <a:latin typeface="Kohinoor Devanagari" panose="02000000000000000000"/>
              </a:rPr>
              <a:t>Plusieurs définition des PEE sont prévus : Règlement CEMAC LCB/FT , Loi </a:t>
            </a:r>
            <a:r>
              <a:rPr lang="fr-FR" sz="2000" i="0" u="none" strike="noStrike" baseline="0" dirty="0">
                <a:solidFill>
                  <a:srgbClr val="404040"/>
                </a:solidFill>
                <a:latin typeface="Trebuchet MS" panose="020B0603020202020204" pitchFamily="34" charset="0"/>
              </a:rPr>
              <a:t>n°003/2006 du 25 avril 2006 </a:t>
            </a:r>
            <a:endParaRPr lang="fr-FR" sz="2000" dirty="0">
              <a:solidFill>
                <a:srgbClr val="404040"/>
              </a:solidFill>
              <a:latin typeface="Kohinoor Devanagari" panose="02000000000000000000"/>
            </a:endParaRPr>
          </a:p>
        </p:txBody>
      </p:sp>
      <p:sp>
        <p:nvSpPr>
          <p:cNvPr id="3" name="ZoneTexte 2">
            <a:extLst>
              <a:ext uri="{FF2B5EF4-FFF2-40B4-BE49-F238E27FC236}">
                <a16:creationId xmlns:a16="http://schemas.microsoft.com/office/drawing/2014/main" id="{392D44E8-6503-14EF-66D0-E99EA8B0E4E5}"/>
              </a:ext>
            </a:extLst>
          </p:cNvPr>
          <p:cNvSpPr txBox="1"/>
          <p:nvPr/>
        </p:nvSpPr>
        <p:spPr>
          <a:xfrm>
            <a:off x="952500" y="3136328"/>
            <a:ext cx="10600768" cy="2985433"/>
          </a:xfrm>
          <a:prstGeom prst="rect">
            <a:avLst/>
          </a:prstGeom>
          <a:noFill/>
        </p:spPr>
        <p:txBody>
          <a:bodyPr wrap="square">
            <a:spAutoFit/>
          </a:bodyPr>
          <a:lstStyle/>
          <a:p>
            <a:pPr algn="just">
              <a:spcBef>
                <a:spcPts val="600"/>
              </a:spcBef>
              <a:spcAft>
                <a:spcPts val="600"/>
              </a:spcAft>
            </a:pPr>
            <a:r>
              <a:rPr lang="fr-FR" sz="2400" b="1" dirty="0">
                <a:solidFill>
                  <a:srgbClr val="FF0000"/>
                </a:solidFill>
                <a:latin typeface="Kohinoor Devanagari" panose="02000000000000000000" pitchFamily="50" charset="0"/>
              </a:rPr>
              <a:t>Avancées</a:t>
            </a:r>
          </a:p>
          <a:p>
            <a:pPr algn="just">
              <a:spcBef>
                <a:spcPts val="600"/>
              </a:spcBef>
              <a:spcAft>
                <a:spcPts val="600"/>
              </a:spcAft>
            </a:pPr>
            <a:r>
              <a:rPr lang="fr-FR" sz="2000" dirty="0">
                <a:solidFill>
                  <a:srgbClr val="404040"/>
                </a:solidFill>
                <a:latin typeface="Kohinoor Devanagari" panose="02000000000000000000"/>
              </a:rPr>
              <a:t>Le Guide de mise en œuvre du standard prévoit une définition par cascade du BE avec un seuil de 20% . Toutefois, le Guide n’a pas la force de la loi et reste non adossé à un texte légal au Cameroun.</a:t>
            </a:r>
          </a:p>
          <a:p>
            <a:pPr algn="just">
              <a:spcBef>
                <a:spcPts val="600"/>
              </a:spcBef>
              <a:spcAft>
                <a:spcPts val="600"/>
              </a:spcAft>
            </a:pPr>
            <a:endParaRPr lang="fr-FR" sz="2000" dirty="0">
              <a:solidFill>
                <a:srgbClr val="404040"/>
              </a:solidFill>
              <a:latin typeface="Kohinoor Devanagari" panose="02000000000000000000"/>
            </a:endParaRPr>
          </a:p>
          <a:p>
            <a:pPr algn="just">
              <a:spcBef>
                <a:spcPts val="600"/>
              </a:spcBef>
              <a:spcAft>
                <a:spcPts val="600"/>
              </a:spcAft>
            </a:pPr>
            <a:r>
              <a:rPr lang="fr-FR" sz="2000" dirty="0">
                <a:solidFill>
                  <a:srgbClr val="404040"/>
                </a:solidFill>
                <a:latin typeface="Kohinoor Devanagari" panose="02000000000000000000"/>
              </a:rPr>
              <a:t>Le projet de loi de finances à prévu l’obligation de déclaration des BE mais sans aborder la définition de la notion. </a:t>
            </a:r>
          </a:p>
          <a:p>
            <a:pPr algn="just">
              <a:spcBef>
                <a:spcPts val="600"/>
              </a:spcBef>
              <a:spcAft>
                <a:spcPts val="600"/>
              </a:spcAft>
            </a:pPr>
            <a:endParaRPr lang="fr-FR" sz="2400" dirty="0">
              <a:effectLst/>
              <a:latin typeface="Kohinoor Devanagari" panose="02000000000000000000"/>
              <a:ea typeface="Times New Roman" panose="02020603050405020304" pitchFamily="18" charset="0"/>
            </a:endParaRPr>
          </a:p>
        </p:txBody>
      </p:sp>
    </p:spTree>
    <p:extLst>
      <p:ext uri="{BB962C8B-B14F-4D97-AF65-F5344CB8AC3E}">
        <p14:creationId xmlns:p14="http://schemas.microsoft.com/office/powerpoint/2010/main" val="2387889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Obstacle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Confidentialité des données</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15</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3" name="ZoneTexte 2">
            <a:extLst>
              <a:ext uri="{FF2B5EF4-FFF2-40B4-BE49-F238E27FC236}">
                <a16:creationId xmlns:a16="http://schemas.microsoft.com/office/drawing/2014/main" id="{CEF314BF-4B51-E830-96B6-CF2E120304F3}"/>
              </a:ext>
            </a:extLst>
          </p:cNvPr>
          <p:cNvSpPr txBox="1"/>
          <p:nvPr/>
        </p:nvSpPr>
        <p:spPr>
          <a:xfrm>
            <a:off x="674673" y="1713786"/>
            <a:ext cx="10600767" cy="4601260"/>
          </a:xfrm>
          <a:prstGeom prst="rect">
            <a:avLst/>
          </a:prstGeom>
          <a:noFill/>
        </p:spPr>
        <p:txBody>
          <a:bodyPr wrap="square">
            <a:spAutoFit/>
          </a:bodyPr>
          <a:lstStyle/>
          <a:p>
            <a:pPr algn="just">
              <a:spcBef>
                <a:spcPts val="600"/>
              </a:spcBef>
              <a:spcAft>
                <a:spcPts val="600"/>
              </a:spcAft>
            </a:pPr>
            <a:r>
              <a:rPr lang="fr-FR" dirty="0">
                <a:solidFill>
                  <a:srgbClr val="404040"/>
                </a:solidFill>
                <a:latin typeface="Trebuchet MS" panose="020B0603020202020204" pitchFamily="34" charset="0"/>
              </a:rPr>
              <a:t>Le Cameroun ne dispose pas actuellement d’une législation sur la protection des données personnelles. Néanmoins, il est attendu que dans le cadre de l’harmonisation de sa législation avec la pays de la sous-régions et ses partenaires commerciaux en Europe, le Cameroun pourrait être amené à promulguer une loi qui couvre la collecte, la transmission, le stockage, l’usage et le traitement des données à caractère personnel. Auquel cas, les modalités de divulgations des données sur les bénéficiaires effectifs et les personnes politiquement exposées </a:t>
            </a:r>
            <a:r>
              <a:rPr lang="fr-FR" sz="1800" b="0" i="0" u="none" strike="noStrike" baseline="0" dirty="0">
                <a:solidFill>
                  <a:srgbClr val="404040"/>
                </a:solidFill>
                <a:latin typeface="Trebuchet MS" panose="020B0603020202020204" pitchFamily="34" charset="0"/>
              </a:rPr>
              <a:t>devront être effectuées conformément aux dispositions de celle loi. </a:t>
            </a:r>
          </a:p>
          <a:p>
            <a:pPr algn="just">
              <a:spcBef>
                <a:spcPts val="600"/>
              </a:spcBef>
              <a:spcAft>
                <a:spcPts val="600"/>
              </a:spcAft>
            </a:pPr>
            <a:r>
              <a:rPr lang="fr-FR" dirty="0">
                <a:solidFill>
                  <a:srgbClr val="404040"/>
                </a:solidFill>
                <a:latin typeface="Trebuchet MS" panose="020B0603020202020204" pitchFamily="34" charset="0"/>
              </a:rPr>
              <a:t>Les entités publiques en charge de la collecte de données sur les BE comme l’</a:t>
            </a:r>
            <a:r>
              <a:rPr lang="fr-FR" dirty="0" err="1">
                <a:solidFill>
                  <a:srgbClr val="404040"/>
                </a:solidFill>
                <a:latin typeface="Trebuchet MS" panose="020B0603020202020204" pitchFamily="34" charset="0"/>
              </a:rPr>
              <a:t>ANIf</a:t>
            </a:r>
            <a:r>
              <a:rPr lang="fr-FR" dirty="0">
                <a:solidFill>
                  <a:srgbClr val="404040"/>
                </a:solidFill>
                <a:latin typeface="Trebuchet MS" panose="020B0603020202020204" pitchFamily="34" charset="0"/>
              </a:rPr>
              <a:t>, la DGI et la CDBA sont tenue par une obligation de confidentialité empêchant la transmission des données dont elles disposent sauf dans des cas bien précis.</a:t>
            </a:r>
            <a:endParaRPr lang="fr-FR" dirty="0">
              <a:solidFill>
                <a:srgbClr val="404040"/>
              </a:solidFill>
              <a:highlight>
                <a:srgbClr val="FFFF00"/>
              </a:highlight>
              <a:latin typeface="Kohinoor Devanagari" panose="02000000000000000000"/>
            </a:endParaRPr>
          </a:p>
          <a:p>
            <a:pPr algn="just">
              <a:spcBef>
                <a:spcPts val="600"/>
              </a:spcBef>
              <a:spcAft>
                <a:spcPts val="600"/>
              </a:spcAft>
            </a:pPr>
            <a:r>
              <a:rPr lang="fr-FR" sz="2400" dirty="0">
                <a:solidFill>
                  <a:srgbClr val="404040"/>
                </a:solidFill>
                <a:effectLst/>
                <a:latin typeface="Kohinoor Devanagari" panose="02000000000000000000"/>
                <a:ea typeface="Times New Roman" panose="02020603050405020304" pitchFamily="18" charset="0"/>
              </a:rPr>
              <a:t> </a:t>
            </a:r>
            <a:r>
              <a:rPr lang="fr-FR" sz="2400" b="1" dirty="0">
                <a:solidFill>
                  <a:srgbClr val="FF0000"/>
                </a:solidFill>
                <a:latin typeface="Kohinoor Devanagari" panose="02000000000000000000" pitchFamily="50" charset="0"/>
              </a:rPr>
              <a:t>Avancée</a:t>
            </a:r>
            <a:endParaRPr lang="fr-FR" sz="2400" dirty="0">
              <a:effectLst/>
              <a:latin typeface="Kohinoor Devanagari" panose="02000000000000000000"/>
              <a:ea typeface="Times New Roman" panose="02020603050405020304" pitchFamily="18" charset="0"/>
            </a:endParaRPr>
          </a:p>
          <a:p>
            <a:pPr algn="just">
              <a:spcBef>
                <a:spcPts val="600"/>
              </a:spcBef>
              <a:spcAft>
                <a:spcPts val="600"/>
              </a:spcAft>
            </a:pPr>
            <a:r>
              <a:rPr lang="fr-FR" dirty="0">
                <a:solidFill>
                  <a:srgbClr val="404040"/>
                </a:solidFill>
                <a:latin typeface="Trebuchet MS" panose="020B0603020202020204" pitchFamily="34" charset="0"/>
              </a:rPr>
              <a:t>La levée de la confidentialité des données sur les données des BE collectées par la DGI n’a pas été traité par le projet de loi de finances. </a:t>
            </a:r>
          </a:p>
          <a:p>
            <a:pPr algn="l">
              <a:spcAft>
                <a:spcPts val="1200"/>
              </a:spcAft>
            </a:pPr>
            <a:endParaRPr lang="fr-FR" sz="1800" dirty="0">
              <a:solidFill>
                <a:srgbClr val="404040"/>
              </a:solidFill>
              <a:effectLst/>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8111013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Obstacles</a:t>
            </a:r>
            <a:br>
              <a:rPr lang="fr-FR" sz="3500" b="1" dirty="0">
                <a:solidFill>
                  <a:srgbClr val="61BC4D"/>
                </a:solidFill>
                <a:latin typeface="Kohinoor Devanagari" panose="02000000000000000000" pitchFamily="50" charset="0"/>
              </a:rPr>
            </a:br>
            <a:r>
              <a:rPr lang="fr-FR" sz="2800" b="1" dirty="0">
                <a:solidFill>
                  <a:srgbClr val="FF0000"/>
                </a:solidFill>
                <a:latin typeface="Kohinoor Devanagari" panose="02000000000000000000" pitchFamily="50" charset="0"/>
                <a:ea typeface="+mj-ea"/>
                <a:cs typeface="+mj-cs"/>
              </a:rPr>
              <a:t>Cadre de sanction insuffisant</a:t>
            </a:r>
            <a:br>
              <a:rPr lang="fr-FR" sz="2800" b="1" dirty="0">
                <a:solidFill>
                  <a:srgbClr val="FF0000"/>
                </a:solidFill>
                <a:latin typeface="Kohinoor Devanagari" panose="02000000000000000000" pitchFamily="50" charset="0"/>
                <a:ea typeface="+mj-ea"/>
                <a:cs typeface="+mj-cs"/>
              </a:rPr>
            </a:b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16</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845312" y="1360115"/>
            <a:ext cx="10600767" cy="2369880"/>
          </a:xfrm>
          <a:prstGeom prst="rect">
            <a:avLst/>
          </a:prstGeom>
          <a:noFill/>
        </p:spPr>
        <p:txBody>
          <a:bodyPr wrap="square">
            <a:spAutoFit/>
          </a:bodyPr>
          <a:lstStyle/>
          <a:p>
            <a:pPr marL="285750" indent="-285750" algn="just">
              <a:spcBef>
                <a:spcPts val="600"/>
              </a:spcBef>
              <a:spcAft>
                <a:spcPts val="600"/>
              </a:spcAft>
              <a:buFont typeface="Arial" panose="020B0604020202020204" pitchFamily="34" charset="0"/>
              <a:buChar char="•"/>
            </a:pPr>
            <a:r>
              <a:rPr lang="fr-FR" sz="2000" dirty="0">
                <a:solidFill>
                  <a:srgbClr val="404040"/>
                </a:solidFill>
                <a:latin typeface="Kohinoor Devanagari" panose="02000000000000000000"/>
              </a:rPr>
              <a:t>Absence  de sanctions en cas de non-respect des obligations d’immatriculation des personnes morales</a:t>
            </a:r>
          </a:p>
          <a:p>
            <a:pPr marL="285750" indent="-285750" algn="just">
              <a:spcBef>
                <a:spcPts val="600"/>
              </a:spcBef>
              <a:spcAft>
                <a:spcPts val="600"/>
              </a:spcAft>
              <a:buFont typeface="Arial" panose="020B0604020202020204" pitchFamily="34" charset="0"/>
              <a:buChar char="•"/>
            </a:pPr>
            <a:r>
              <a:rPr lang="fr-FR" sz="2000" dirty="0">
                <a:solidFill>
                  <a:srgbClr val="404040"/>
                </a:solidFill>
                <a:latin typeface="Kohinoor Devanagari" panose="02000000000000000000"/>
              </a:rPr>
              <a:t>Pas de sanctions en cas d’incapacité de fournir des informations de base sur l’identification des bénéficiaires effectifs. </a:t>
            </a:r>
          </a:p>
          <a:p>
            <a:pPr marL="285750" indent="-285750" algn="just">
              <a:spcBef>
                <a:spcPts val="600"/>
              </a:spcBef>
              <a:spcAft>
                <a:spcPts val="600"/>
              </a:spcAft>
              <a:buFont typeface="Arial" panose="020B0604020202020204" pitchFamily="34" charset="0"/>
              <a:buChar char="•"/>
            </a:pPr>
            <a:r>
              <a:rPr lang="fr-FR" sz="2000" dirty="0">
                <a:solidFill>
                  <a:srgbClr val="404040"/>
                </a:solidFill>
                <a:latin typeface="Kohinoor Devanagari" panose="02000000000000000000"/>
              </a:rPr>
              <a:t>Pas de sanctions contre la non mise à jour des informations de base les bénéficiaires effectifs.</a:t>
            </a:r>
            <a:endParaRPr lang="fr-FR" sz="2000" b="1" dirty="0">
              <a:solidFill>
                <a:srgbClr val="FF0000"/>
              </a:solidFill>
              <a:latin typeface="Kohinoor Devanagari" panose="02000000000000000000" pitchFamily="50" charset="0"/>
              <a:ea typeface="+mj-ea"/>
              <a:cs typeface="+mj-cs"/>
            </a:endParaRPr>
          </a:p>
          <a:p>
            <a:pPr algn="just">
              <a:spcBef>
                <a:spcPts val="600"/>
              </a:spcBef>
              <a:spcAft>
                <a:spcPts val="600"/>
              </a:spcAft>
            </a:pPr>
            <a:endParaRPr lang="fr-FR" dirty="0">
              <a:solidFill>
                <a:srgbClr val="404040"/>
              </a:solidFill>
              <a:latin typeface="Kohinoor Devanagari" panose="02000000000000000000"/>
            </a:endParaRPr>
          </a:p>
        </p:txBody>
      </p:sp>
      <p:sp>
        <p:nvSpPr>
          <p:cNvPr id="5" name="ZoneTexte 4">
            <a:extLst>
              <a:ext uri="{FF2B5EF4-FFF2-40B4-BE49-F238E27FC236}">
                <a16:creationId xmlns:a16="http://schemas.microsoft.com/office/drawing/2014/main" id="{F0079E4A-91C5-AD06-A19F-987757C2AA5E}"/>
              </a:ext>
            </a:extLst>
          </p:cNvPr>
          <p:cNvSpPr txBox="1"/>
          <p:nvPr/>
        </p:nvSpPr>
        <p:spPr>
          <a:xfrm>
            <a:off x="881101" y="3469124"/>
            <a:ext cx="10482223" cy="2939266"/>
          </a:xfrm>
          <a:prstGeom prst="rect">
            <a:avLst/>
          </a:prstGeom>
          <a:noFill/>
        </p:spPr>
        <p:txBody>
          <a:bodyPr wrap="square">
            <a:spAutoFit/>
          </a:bodyPr>
          <a:lstStyle/>
          <a:p>
            <a:pPr algn="just">
              <a:spcBef>
                <a:spcPts val="600"/>
              </a:spcBef>
              <a:spcAft>
                <a:spcPts val="600"/>
              </a:spcAft>
            </a:pPr>
            <a:r>
              <a:rPr lang="fr-FR" sz="2500" b="1" dirty="0">
                <a:solidFill>
                  <a:srgbClr val="FF0000"/>
                </a:solidFill>
                <a:latin typeface="Kohinoor Devanagari" panose="02000000000000000000" pitchFamily="50" charset="0"/>
              </a:rPr>
              <a:t>Avancée</a:t>
            </a:r>
            <a:endParaRPr lang="fr-FR" sz="2500" dirty="0">
              <a:effectLst/>
              <a:latin typeface="Kohinoor Devanagari" panose="02000000000000000000"/>
              <a:ea typeface="Times New Roman" panose="02020603050405020304" pitchFamily="18" charset="0"/>
            </a:endParaRPr>
          </a:p>
          <a:p>
            <a:pPr algn="just">
              <a:spcBef>
                <a:spcPts val="600"/>
              </a:spcBef>
              <a:spcAft>
                <a:spcPts val="600"/>
              </a:spcAft>
            </a:pPr>
            <a:r>
              <a:rPr lang="fr-FR" sz="2000" dirty="0">
                <a:solidFill>
                  <a:srgbClr val="404040"/>
                </a:solidFill>
                <a:latin typeface="Kohinoor Devanagari" panose="02000000000000000000"/>
              </a:rPr>
              <a:t>Le projet de loi de finances prévoit une amende de 5 millions de FCFA en cas de défaut de tenu d’un registre des BE au nveau des entreprises ou en cas de défaut de communication et une amende de 250 000 FCFA à 5 millions de FCFA en cas de défaut de déclaration des BE à la DGI. </a:t>
            </a:r>
            <a:endParaRPr lang="fr-FR" sz="2000" i="0" u="none" strike="noStrike" baseline="0" dirty="0">
              <a:solidFill>
                <a:srgbClr val="404040"/>
              </a:solidFill>
              <a:latin typeface="Trebuchet MS" panose="020B0603020202020204" pitchFamily="34" charset="0"/>
            </a:endParaRPr>
          </a:p>
          <a:p>
            <a:pPr algn="just">
              <a:spcBef>
                <a:spcPts val="600"/>
              </a:spcBef>
              <a:spcAft>
                <a:spcPts val="600"/>
              </a:spcAft>
            </a:pPr>
            <a:r>
              <a:rPr lang="fr-FR" sz="2000" dirty="0">
                <a:solidFill>
                  <a:srgbClr val="404040"/>
                </a:solidFill>
                <a:latin typeface="Kohinoor Devanagari" panose="02000000000000000000"/>
              </a:rPr>
              <a:t>Le projet de LF ne prévoit pas toutefois de sanctions en cas de communication de données incomplètes ou de fausses déclarations. Par ailleurs, les sanctions prévues peuvent être insuffisantes et non dissuasives notamment pour les grandes sociétés opérants dans le secteur des industries extractives. </a:t>
            </a:r>
          </a:p>
        </p:txBody>
      </p:sp>
    </p:spTree>
    <p:extLst>
      <p:ext uri="{BB962C8B-B14F-4D97-AF65-F5344CB8AC3E}">
        <p14:creationId xmlns:p14="http://schemas.microsoft.com/office/powerpoint/2010/main" val="13696129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Obstacle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Absence d’un registre dématérialisé</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17</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845312" y="1398477"/>
            <a:ext cx="10600767" cy="2723823"/>
          </a:xfrm>
          <a:prstGeom prst="rect">
            <a:avLst/>
          </a:prstGeom>
          <a:noFill/>
        </p:spPr>
        <p:txBody>
          <a:bodyPr wrap="square">
            <a:spAutoFit/>
          </a:bodyPr>
          <a:lstStyle/>
          <a:p>
            <a:pPr marL="285750" indent="-285750" algn="just">
              <a:spcBef>
                <a:spcPts val="600"/>
              </a:spcBef>
              <a:spcAft>
                <a:spcPts val="600"/>
              </a:spcAft>
              <a:buFont typeface="Arial" panose="020B0604020202020204" pitchFamily="34" charset="0"/>
              <a:buChar char="•"/>
            </a:pPr>
            <a:r>
              <a:rPr lang="fr-FR" sz="1900" dirty="0">
                <a:solidFill>
                  <a:srgbClr val="404040"/>
                </a:solidFill>
                <a:latin typeface="Kohinoor Devanagari" panose="02000000000000000000"/>
              </a:rPr>
              <a:t>Le processus de dématérialisation et de mise à jour du RCCM est toujours en cours.  </a:t>
            </a:r>
          </a:p>
          <a:p>
            <a:pPr marL="285750" indent="-285750" algn="just">
              <a:spcBef>
                <a:spcPts val="600"/>
              </a:spcBef>
              <a:spcAft>
                <a:spcPts val="600"/>
              </a:spcAft>
              <a:buFont typeface="Arial" panose="020B0604020202020204" pitchFamily="34" charset="0"/>
              <a:buChar char="•"/>
            </a:pPr>
            <a:r>
              <a:rPr lang="fr-FR" sz="1900" dirty="0">
                <a:solidFill>
                  <a:srgbClr val="404040"/>
                </a:solidFill>
                <a:latin typeface="Kohinoor Devanagari" panose="02000000000000000000"/>
              </a:rPr>
              <a:t>Le logiciel utilisé est la propriété de l'OHADA et aucune évolution ne peut être envisagée pour introduire un module pourtant sur les BE.</a:t>
            </a:r>
          </a:p>
          <a:p>
            <a:pPr marL="285750" indent="-285750" algn="just">
              <a:spcBef>
                <a:spcPts val="600"/>
              </a:spcBef>
              <a:spcAft>
                <a:spcPts val="600"/>
              </a:spcAft>
              <a:buFont typeface="Arial" panose="020B0604020202020204" pitchFamily="34" charset="0"/>
              <a:buChar char="•"/>
            </a:pPr>
            <a:r>
              <a:rPr lang="fr-FR" sz="1900" dirty="0">
                <a:solidFill>
                  <a:srgbClr val="404040"/>
                </a:solidFill>
                <a:latin typeface="Kohinoor Devanagari" panose="02000000000000000000"/>
              </a:rPr>
              <a:t>Seul le cadastre minier est dématérialisé. Il ne pourra toutefois couvrir que les sociétés du secteur minier.</a:t>
            </a:r>
          </a:p>
          <a:p>
            <a:pPr algn="just">
              <a:spcBef>
                <a:spcPts val="600"/>
              </a:spcBef>
              <a:spcAft>
                <a:spcPts val="600"/>
              </a:spcAft>
            </a:pPr>
            <a:r>
              <a:rPr lang="fr-FR" dirty="0">
                <a:solidFill>
                  <a:srgbClr val="404040"/>
                </a:solidFill>
                <a:latin typeface="Kohinoor Devanagari" panose="02000000000000000000"/>
              </a:rPr>
              <a:t>  </a:t>
            </a:r>
          </a:p>
          <a:p>
            <a:pPr algn="just">
              <a:spcBef>
                <a:spcPts val="600"/>
              </a:spcBef>
              <a:spcAft>
                <a:spcPts val="600"/>
              </a:spcAft>
            </a:pPr>
            <a:endParaRPr lang="fr-FR" dirty="0">
              <a:solidFill>
                <a:srgbClr val="404040"/>
              </a:solidFill>
              <a:latin typeface="Kohinoor Devanagari" panose="02000000000000000000"/>
            </a:endParaRPr>
          </a:p>
        </p:txBody>
      </p:sp>
      <p:sp>
        <p:nvSpPr>
          <p:cNvPr id="5" name="ZoneTexte 4">
            <a:extLst>
              <a:ext uri="{FF2B5EF4-FFF2-40B4-BE49-F238E27FC236}">
                <a16:creationId xmlns:a16="http://schemas.microsoft.com/office/drawing/2014/main" id="{0FD66FED-53E2-E438-ABA1-2F6158414579}"/>
              </a:ext>
            </a:extLst>
          </p:cNvPr>
          <p:cNvSpPr txBox="1"/>
          <p:nvPr/>
        </p:nvSpPr>
        <p:spPr>
          <a:xfrm>
            <a:off x="1066800" y="3291127"/>
            <a:ext cx="10763250" cy="2231380"/>
          </a:xfrm>
          <a:prstGeom prst="rect">
            <a:avLst/>
          </a:prstGeom>
          <a:noFill/>
        </p:spPr>
        <p:txBody>
          <a:bodyPr wrap="square">
            <a:spAutoFit/>
          </a:bodyPr>
          <a:lstStyle/>
          <a:p>
            <a:pPr algn="just">
              <a:spcBef>
                <a:spcPts val="600"/>
              </a:spcBef>
              <a:spcAft>
                <a:spcPts val="600"/>
              </a:spcAft>
            </a:pPr>
            <a:r>
              <a:rPr lang="fr-FR" sz="2400" b="1" dirty="0">
                <a:solidFill>
                  <a:srgbClr val="FF0000"/>
                </a:solidFill>
                <a:latin typeface="Kohinoor Devanagari" panose="02000000000000000000" pitchFamily="50" charset="0"/>
              </a:rPr>
              <a:t>Avancées</a:t>
            </a:r>
            <a:endParaRPr lang="fr-FR" sz="2400" dirty="0">
              <a:effectLst/>
              <a:latin typeface="Kohinoor Devanagari" panose="02000000000000000000"/>
              <a:ea typeface="Times New Roman" panose="02020603050405020304" pitchFamily="18" charset="0"/>
            </a:endParaRPr>
          </a:p>
          <a:p>
            <a:pPr algn="just">
              <a:spcBef>
                <a:spcPts val="600"/>
              </a:spcBef>
              <a:spcAft>
                <a:spcPts val="600"/>
              </a:spcAft>
            </a:pPr>
            <a:r>
              <a:rPr lang="fr-FR" sz="1900" dirty="0">
                <a:solidFill>
                  <a:srgbClr val="404040"/>
                </a:solidFill>
                <a:latin typeface="Kohinoor Devanagari" panose="02000000000000000000"/>
              </a:rPr>
              <a:t>Le projet de loi de finance pour l’année 2023 prévoit la collecte des données sur les BE des personnes morales y compris opérant dans le secteur extractif par la DGI. Il n’est pas clair toutefois si le registre sera tenu sous une forme physique ou électronique.</a:t>
            </a:r>
          </a:p>
          <a:p>
            <a:pPr algn="just">
              <a:spcBef>
                <a:spcPts val="600"/>
              </a:spcBef>
              <a:spcAft>
                <a:spcPts val="600"/>
              </a:spcAft>
            </a:pPr>
            <a:r>
              <a:rPr lang="fr-FR" sz="1900" dirty="0">
                <a:solidFill>
                  <a:srgbClr val="404040"/>
                </a:solidFill>
                <a:latin typeface="Kohinoor Devanagari" panose="02000000000000000000"/>
              </a:rPr>
              <a:t>Le projet de loi de finance prévoir également la tenu d’un registre au niveau des personnes morales. Ces registre ont toutefois un caractère privé.</a:t>
            </a:r>
          </a:p>
        </p:txBody>
      </p:sp>
    </p:spTree>
    <p:extLst>
      <p:ext uri="{BB962C8B-B14F-4D97-AF65-F5344CB8AC3E}">
        <p14:creationId xmlns:p14="http://schemas.microsoft.com/office/powerpoint/2010/main" val="4088663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C55F823-BC8D-4099-BD4B-BF1AB9C2E899}"/>
              </a:ext>
            </a:extLst>
          </p:cNvPr>
          <p:cNvGraphicFramePr>
            <a:graphicFrameLocks noChangeAspect="1"/>
          </p:cNvGraphicFramePr>
          <p:nvPr>
            <p:custDataLst>
              <p:tags r:id="rId1"/>
            </p:custDataLst>
          </p:nvPr>
        </p:nvGraphicFramePr>
        <p:xfrm>
          <a:off x="768585" y="2044"/>
          <a:ext cx="2044" cy="2044"/>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4" name="Objet 3" hidden="1">
                        <a:extLst>
                          <a:ext uri="{FF2B5EF4-FFF2-40B4-BE49-F238E27FC236}">
                            <a16:creationId xmlns:a16="http://schemas.microsoft.com/office/drawing/2014/main" id="{1C55F823-BC8D-4099-BD4B-BF1AB9C2E899}"/>
                          </a:ext>
                        </a:extLst>
                      </p:cNvPr>
                      <p:cNvPicPr/>
                      <p:nvPr/>
                    </p:nvPicPr>
                    <p:blipFill>
                      <a:blip r:embed="rId5"/>
                      <a:stretch>
                        <a:fillRect/>
                      </a:stretch>
                    </p:blipFill>
                    <p:spPr>
                      <a:xfrm>
                        <a:off x="768585" y="2044"/>
                        <a:ext cx="2044" cy="2044"/>
                      </a:xfrm>
                      <a:prstGeom prst="rect">
                        <a:avLst/>
                      </a:prstGeom>
                    </p:spPr>
                  </p:pic>
                </p:oleObj>
              </mc:Fallback>
            </mc:AlternateContent>
          </a:graphicData>
        </a:graphic>
      </p:graphicFrame>
      <p:sp>
        <p:nvSpPr>
          <p:cNvPr id="3" name="ZoneTexte 2">
            <a:extLst>
              <a:ext uri="{FF2B5EF4-FFF2-40B4-BE49-F238E27FC236}">
                <a16:creationId xmlns:a16="http://schemas.microsoft.com/office/drawing/2014/main" id="{B0262F37-0681-4BD1-8ED1-0B5A907E86C9}"/>
              </a:ext>
            </a:extLst>
          </p:cNvPr>
          <p:cNvSpPr txBox="1"/>
          <p:nvPr/>
        </p:nvSpPr>
        <p:spPr>
          <a:xfrm>
            <a:off x="186336" y="2437663"/>
            <a:ext cx="5753069" cy="769441"/>
          </a:xfrm>
          <a:prstGeom prst="rect">
            <a:avLst/>
          </a:prstGeom>
          <a:solidFill>
            <a:srgbClr val="404040"/>
          </a:solidFill>
        </p:spPr>
        <p:txBody>
          <a:bodyPr wrap="square" rtlCol="0">
            <a:spAutoFit/>
          </a:bodyPr>
          <a:lstStyle/>
          <a:p>
            <a:pPr marL="857250" indent="-857250">
              <a:buFont typeface="+mj-lt"/>
              <a:buAutoNum type="romanUcPeriod" startAt="4"/>
            </a:pPr>
            <a:r>
              <a:rPr lang="fr-FR" sz="4400" b="1" dirty="0">
                <a:solidFill>
                  <a:schemeClr val="bg1"/>
                </a:solidFill>
              </a:rPr>
              <a:t>Recommandations</a:t>
            </a:r>
          </a:p>
        </p:txBody>
      </p:sp>
      <p:pic>
        <p:nvPicPr>
          <p:cNvPr id="5" name="Picture 12" descr="A picture containing text, clipart&#10;&#10;Description automatically generated">
            <a:extLst>
              <a:ext uri="{FF2B5EF4-FFF2-40B4-BE49-F238E27FC236}">
                <a16:creationId xmlns:a16="http://schemas.microsoft.com/office/drawing/2014/main" id="{B3C7C647-B058-71B4-B600-4F5C30ACABC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24469" y="6129726"/>
            <a:ext cx="2363098" cy="365125"/>
          </a:xfrm>
          <a:prstGeom prst="rect">
            <a:avLst/>
          </a:prstGeom>
        </p:spPr>
      </p:pic>
    </p:spTree>
    <p:extLst>
      <p:ext uri="{BB962C8B-B14F-4D97-AF65-F5344CB8AC3E}">
        <p14:creationId xmlns:p14="http://schemas.microsoft.com/office/powerpoint/2010/main" val="36388653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Recommandations</a:t>
            </a:r>
            <a:br>
              <a:rPr lang="fr-FR" sz="3500" b="1" dirty="0">
                <a:solidFill>
                  <a:srgbClr val="61BC4D"/>
                </a:solidFill>
                <a:latin typeface="Kohinoor Devanagari" panose="02000000000000000000" pitchFamily="50" charset="0"/>
              </a:rPr>
            </a:b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19</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3" name="Tableau 3">
            <a:extLst>
              <a:ext uri="{FF2B5EF4-FFF2-40B4-BE49-F238E27FC236}">
                <a16:creationId xmlns:a16="http://schemas.microsoft.com/office/drawing/2014/main" id="{E1058F4D-EF9D-A419-D178-2ED0636829D9}"/>
              </a:ext>
            </a:extLst>
          </p:cNvPr>
          <p:cNvGraphicFramePr>
            <a:graphicFrameLocks noGrp="1"/>
          </p:cNvGraphicFramePr>
          <p:nvPr>
            <p:extLst>
              <p:ext uri="{D42A27DB-BD31-4B8C-83A1-F6EECF244321}">
                <p14:modId xmlns:p14="http://schemas.microsoft.com/office/powerpoint/2010/main" val="3363158623"/>
              </p:ext>
            </p:extLst>
          </p:nvPr>
        </p:nvGraphicFramePr>
        <p:xfrm>
          <a:off x="939567" y="1323821"/>
          <a:ext cx="10335873" cy="5212080"/>
        </p:xfrm>
        <a:graphic>
          <a:graphicData uri="http://schemas.openxmlformats.org/drawingml/2006/table">
            <a:tbl>
              <a:tblPr firstRow="1" bandRow="1">
                <a:tableStyleId>{7DF18680-E054-41AD-8BC1-D1AEF772440D}</a:tableStyleId>
              </a:tblPr>
              <a:tblGrid>
                <a:gridCol w="2145963">
                  <a:extLst>
                    <a:ext uri="{9D8B030D-6E8A-4147-A177-3AD203B41FA5}">
                      <a16:colId xmlns:a16="http://schemas.microsoft.com/office/drawing/2014/main" val="1057592566"/>
                    </a:ext>
                  </a:extLst>
                </a:gridCol>
                <a:gridCol w="8189910">
                  <a:extLst>
                    <a:ext uri="{9D8B030D-6E8A-4147-A177-3AD203B41FA5}">
                      <a16:colId xmlns:a16="http://schemas.microsoft.com/office/drawing/2014/main" val="1485353904"/>
                    </a:ext>
                  </a:extLst>
                </a:gridCol>
              </a:tblGrid>
              <a:tr h="344059">
                <a:tc>
                  <a:txBody>
                    <a:bodyPr/>
                    <a:lstStyle/>
                    <a:p>
                      <a:r>
                        <a:rPr lang="fr-FR" dirty="0">
                          <a:solidFill>
                            <a:schemeClr val="bg1"/>
                          </a:solidFill>
                        </a:rPr>
                        <a:t>Recommandation</a:t>
                      </a:r>
                    </a:p>
                  </a:txBody>
                  <a:tcPr>
                    <a:solidFill>
                      <a:srgbClr val="657C91"/>
                    </a:solidFill>
                  </a:tcPr>
                </a:tc>
                <a:tc>
                  <a:txBody>
                    <a:bodyPr/>
                    <a:lstStyle/>
                    <a:p>
                      <a:r>
                        <a:rPr lang="fr-FR" dirty="0">
                          <a:solidFill>
                            <a:schemeClr val="bg1"/>
                          </a:solidFill>
                        </a:rPr>
                        <a:t>Détail </a:t>
                      </a:r>
                    </a:p>
                  </a:txBody>
                  <a:tcPr>
                    <a:solidFill>
                      <a:srgbClr val="657C91"/>
                    </a:solidFill>
                  </a:tcPr>
                </a:tc>
                <a:extLst>
                  <a:ext uri="{0D108BD9-81ED-4DB2-BD59-A6C34878D82A}">
                    <a16:rowId xmlns:a16="http://schemas.microsoft.com/office/drawing/2014/main" val="2595839864"/>
                  </a:ext>
                </a:extLst>
              </a:tr>
              <a:tr h="13946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kern="1200" dirty="0">
                          <a:solidFill>
                            <a:srgbClr val="404040"/>
                          </a:solidFill>
                          <a:effectLst/>
                          <a:latin typeface="+mn-lt"/>
                          <a:ea typeface="+mn-ea"/>
                          <a:cs typeface="+mn-cs"/>
                        </a:rPr>
                        <a:t>Doter d’un cadre lé légal sur divulgation des données sur les BE</a:t>
                      </a:r>
                    </a:p>
                    <a:p>
                      <a:endParaRPr lang="fr-FR" sz="1600" b="1" dirty="0">
                        <a:solidFill>
                          <a:srgbClr val="404040"/>
                        </a:solidFill>
                        <a:latin typeface="Kohinoor Devanagari" panose="02000000000000000000"/>
                      </a:endParaRPr>
                    </a:p>
                  </a:txBody>
                  <a:tcPr>
                    <a:solidFill>
                      <a:srgbClr val="A4E7E1"/>
                    </a:solidFill>
                  </a:tcPr>
                </a:tc>
                <a:tc>
                  <a:txBody>
                    <a:bodyPr/>
                    <a:lstStyle/>
                    <a:p>
                      <a:r>
                        <a:rPr lang="fr-FR" sz="1800" kern="1200" dirty="0">
                          <a:solidFill>
                            <a:srgbClr val="404040"/>
                          </a:solidFill>
                          <a:effectLst/>
                          <a:latin typeface="+mn-lt"/>
                          <a:ea typeface="+mn-ea"/>
                          <a:cs typeface="+mn-cs"/>
                        </a:rPr>
                        <a:t>Les éléments requis pour la mise en œuvre d’un cadre juridique pérenne et efficient régissant la collecte et de divulgation d’un registre sur les bénéficiaires effectifs incluent : </a:t>
                      </a:r>
                    </a:p>
                    <a:p>
                      <a:pPr marL="285750" lvl="0" indent="-285750">
                        <a:buFont typeface="Arial" panose="020B0604020202020204" pitchFamily="34" charset="0"/>
                        <a:buChar char="•"/>
                      </a:pPr>
                      <a:r>
                        <a:rPr lang="fr-FR" sz="1800" kern="1200" dirty="0">
                          <a:solidFill>
                            <a:srgbClr val="404040"/>
                          </a:solidFill>
                          <a:effectLst/>
                          <a:latin typeface="+mn-lt"/>
                          <a:ea typeface="+mn-ea"/>
                          <a:cs typeface="+mn-cs"/>
                        </a:rPr>
                        <a:t>le périmètre des assujetties </a:t>
                      </a:r>
                    </a:p>
                    <a:p>
                      <a:pPr marL="285750" lvl="0" indent="-285750">
                        <a:buFont typeface="Arial" panose="020B0604020202020204" pitchFamily="34" charset="0"/>
                        <a:buChar char="•"/>
                      </a:pPr>
                      <a:r>
                        <a:rPr lang="fr-FR" sz="1800" kern="1200" dirty="0">
                          <a:solidFill>
                            <a:srgbClr val="404040"/>
                          </a:solidFill>
                          <a:effectLst/>
                          <a:latin typeface="+mn-lt"/>
                          <a:ea typeface="+mn-ea"/>
                          <a:cs typeface="+mn-cs"/>
                        </a:rPr>
                        <a:t>La définition retenue y compris pour les PPE;</a:t>
                      </a:r>
                    </a:p>
                    <a:p>
                      <a:pPr marL="285750" lvl="0" indent="-285750">
                        <a:buFont typeface="Arial" panose="020B0604020202020204" pitchFamily="34" charset="0"/>
                        <a:buChar char="•"/>
                      </a:pPr>
                      <a:r>
                        <a:rPr lang="fr-FR" sz="1800" kern="1200" dirty="0">
                          <a:solidFill>
                            <a:srgbClr val="404040"/>
                          </a:solidFill>
                          <a:effectLst/>
                          <a:latin typeface="+mn-lt"/>
                          <a:ea typeface="+mn-ea"/>
                          <a:cs typeface="+mn-cs"/>
                        </a:rPr>
                        <a:t>Mécanisme de collecte et de conservation des données ;</a:t>
                      </a:r>
                    </a:p>
                    <a:p>
                      <a:pPr marL="285750" lvl="0" indent="-285750">
                        <a:buFont typeface="Arial" panose="020B0604020202020204" pitchFamily="34" charset="0"/>
                        <a:buChar char="•"/>
                      </a:pPr>
                      <a:r>
                        <a:rPr lang="fr-FR" sz="1800" kern="1200" dirty="0">
                          <a:solidFill>
                            <a:srgbClr val="404040"/>
                          </a:solidFill>
                          <a:effectLst/>
                          <a:latin typeface="+mn-lt"/>
                          <a:ea typeface="+mn-ea"/>
                          <a:cs typeface="+mn-cs"/>
                        </a:rPr>
                        <a:t>la vérification de la qualité des données ;</a:t>
                      </a:r>
                    </a:p>
                    <a:p>
                      <a:pPr marL="285750" lvl="0" indent="-285750">
                        <a:buFont typeface="Arial" panose="020B0604020202020204" pitchFamily="34" charset="0"/>
                        <a:buChar char="•"/>
                      </a:pPr>
                      <a:r>
                        <a:rPr lang="fr-FR" sz="1800" kern="1200" dirty="0">
                          <a:solidFill>
                            <a:srgbClr val="404040"/>
                          </a:solidFill>
                          <a:effectLst/>
                          <a:latin typeface="+mn-lt"/>
                          <a:ea typeface="+mn-ea"/>
                          <a:cs typeface="+mn-cs"/>
                        </a:rPr>
                        <a:t>l’accès au registre ; et</a:t>
                      </a:r>
                    </a:p>
                    <a:p>
                      <a:pPr marL="285750" lvl="0" indent="-285750">
                        <a:buFont typeface="Arial" panose="020B0604020202020204" pitchFamily="34" charset="0"/>
                        <a:buChar char="•"/>
                      </a:pPr>
                      <a:r>
                        <a:rPr lang="fr-FR" sz="1800" kern="1200" dirty="0">
                          <a:solidFill>
                            <a:srgbClr val="404040"/>
                          </a:solidFill>
                          <a:effectLst/>
                          <a:latin typeface="+mn-lt"/>
                          <a:ea typeface="+mn-ea"/>
                          <a:cs typeface="+mn-cs"/>
                        </a:rPr>
                        <a:t>le système de sanctions. </a:t>
                      </a:r>
                    </a:p>
                    <a:p>
                      <a:pPr marL="0" lvl="0" indent="0">
                        <a:buFont typeface="Arial" panose="020B0604020202020204" pitchFamily="34" charset="0"/>
                        <a:buNone/>
                      </a:pPr>
                      <a:endParaRPr lang="fr-FR" sz="1800" kern="1200" dirty="0">
                        <a:solidFill>
                          <a:srgbClr val="404040"/>
                        </a:solidFill>
                        <a:effectLst/>
                        <a:latin typeface="+mn-lt"/>
                        <a:ea typeface="+mn-ea"/>
                        <a:cs typeface="+mn-cs"/>
                      </a:endParaRPr>
                    </a:p>
                    <a:p>
                      <a:pPr marL="0" lvl="0" indent="0">
                        <a:buFont typeface="Arial" panose="020B0604020202020204" pitchFamily="34" charset="0"/>
                        <a:buNone/>
                      </a:pPr>
                      <a:r>
                        <a:rPr lang="fr-FR" sz="1800" kern="1200" dirty="0">
                          <a:solidFill>
                            <a:srgbClr val="404040"/>
                          </a:solidFill>
                          <a:effectLst/>
                          <a:latin typeface="+mn-lt"/>
                          <a:ea typeface="+mn-ea"/>
                          <a:cs typeface="+mn-cs"/>
                        </a:rPr>
                        <a:t>Ces aspects peuvent être abordés dans le cadre du texte d’application des dispositions du projet de LF 2023 sur les BE. </a:t>
                      </a:r>
                    </a:p>
                  </a:txBody>
                  <a:tcPr>
                    <a:solidFill>
                      <a:srgbClr val="A4E7E1"/>
                    </a:solidFill>
                  </a:tcPr>
                </a:tc>
                <a:extLst>
                  <a:ext uri="{0D108BD9-81ED-4DB2-BD59-A6C34878D82A}">
                    <a16:rowId xmlns:a16="http://schemas.microsoft.com/office/drawing/2014/main" val="274250255"/>
                  </a:ext>
                </a:extLst>
              </a:tr>
              <a:tr h="1442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kern="1200" dirty="0">
                          <a:solidFill>
                            <a:srgbClr val="404040"/>
                          </a:solidFill>
                          <a:effectLst/>
                          <a:latin typeface="+mn-lt"/>
                          <a:ea typeface="+mn-ea"/>
                          <a:cs typeface="+mn-cs"/>
                        </a:rPr>
                        <a:t>Clarification de la notion de B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800" kern="1200" dirty="0">
                        <a:solidFill>
                          <a:srgbClr val="404040"/>
                        </a:solidFill>
                        <a:effectLst/>
                        <a:latin typeface="+mn-lt"/>
                        <a:ea typeface="+mn-ea"/>
                        <a:cs typeface="+mn-cs"/>
                      </a:endParaRPr>
                    </a:p>
                  </a:txBody>
                  <a:tcPr>
                    <a:lnB w="12700" cap="flat" cmpd="sng" algn="ctr">
                      <a:solidFill>
                        <a:srgbClr val="92D050"/>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kern="1200" dirty="0">
                          <a:solidFill>
                            <a:srgbClr val="404040"/>
                          </a:solidFill>
                          <a:effectLst/>
                          <a:latin typeface="+mn-lt"/>
                          <a:ea typeface="+mn-ea"/>
                          <a:cs typeface="+mn-cs"/>
                        </a:rPr>
                        <a:t>La clarté de la notion, son caractère « compréhensive » sont fondamentaux pour l’efficience d’un registre des B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800" kern="1200" dirty="0">
                        <a:solidFill>
                          <a:srgbClr val="404040"/>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kern="1200" dirty="0">
                          <a:solidFill>
                            <a:srgbClr val="404040"/>
                          </a:solidFill>
                          <a:effectLst/>
                          <a:latin typeface="+mn-lt"/>
                          <a:ea typeface="+mn-ea"/>
                          <a:cs typeface="+mn-cs"/>
                        </a:rPr>
                        <a:t>Harmoniser les définitions avec la possibilité de prévoir plusieurs seuils en fonction du risque du secteur et la qualité du BE (PPE ou pas)</a:t>
                      </a:r>
                    </a:p>
                  </a:txBody>
                  <a:tcPr>
                    <a:lnB w="12700" cap="flat" cmpd="sng" algn="ctr">
                      <a:solidFill>
                        <a:srgbClr val="92D050"/>
                      </a:solidFill>
                      <a:prstDash val="solid"/>
                      <a:round/>
                      <a:headEnd type="none" w="med" len="med"/>
                      <a:tailEnd type="none" w="med" len="med"/>
                    </a:lnB>
                    <a:noFill/>
                  </a:tcPr>
                </a:tc>
                <a:extLst>
                  <a:ext uri="{0D108BD9-81ED-4DB2-BD59-A6C34878D82A}">
                    <a16:rowId xmlns:a16="http://schemas.microsoft.com/office/drawing/2014/main" val="3025638769"/>
                  </a:ext>
                </a:extLst>
              </a:tr>
            </a:tbl>
          </a:graphicData>
        </a:graphic>
      </p:graphicFrame>
    </p:spTree>
    <p:extLst>
      <p:ext uri="{BB962C8B-B14F-4D97-AF65-F5344CB8AC3E}">
        <p14:creationId xmlns:p14="http://schemas.microsoft.com/office/powerpoint/2010/main" val="14300924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772101" y="187387"/>
            <a:ext cx="10515600" cy="1277244"/>
          </a:xfrm>
        </p:spPr>
        <p:txBody>
          <a:bodyPr>
            <a:normAutofit/>
          </a:bodyPr>
          <a:lstStyle/>
          <a:p>
            <a:r>
              <a:rPr lang="fr-FR" b="1" dirty="0">
                <a:solidFill>
                  <a:srgbClr val="61BC4D"/>
                </a:solidFill>
                <a:latin typeface="Kohinoor Devanagari" panose="02000000000000000000" pitchFamily="50" charset="0"/>
                <a:cs typeface="Kohinoor Devanagari" panose="02000000000000000000" pitchFamily="50" charset="0"/>
              </a:rPr>
              <a:t>Sommaire</a:t>
            </a:r>
          </a:p>
        </p:txBody>
      </p:sp>
      <p:sp>
        <p:nvSpPr>
          <p:cNvPr id="3" name="Espace réservé du contenu 2">
            <a:extLst>
              <a:ext uri="{FF2B5EF4-FFF2-40B4-BE49-F238E27FC236}">
                <a16:creationId xmlns:a16="http://schemas.microsoft.com/office/drawing/2014/main" id="{6CD68FAC-B24E-7FEA-7640-0FB0AF63BE2F}"/>
              </a:ext>
            </a:extLst>
          </p:cNvPr>
          <p:cNvSpPr>
            <a:spLocks noGrp="1"/>
          </p:cNvSpPr>
          <p:nvPr>
            <p:ph idx="1"/>
          </p:nvPr>
        </p:nvSpPr>
        <p:spPr>
          <a:xfrm>
            <a:off x="870922" y="1986296"/>
            <a:ext cx="10515600" cy="3811669"/>
          </a:xfrm>
        </p:spPr>
        <p:txBody>
          <a:bodyPr>
            <a:normAutofit/>
          </a:bodyPr>
          <a:lstStyle/>
          <a:p>
            <a:pPr marL="571500" indent="-571500">
              <a:buFont typeface="+mj-lt"/>
              <a:buAutoNum type="romanUcPeriod"/>
            </a:pPr>
            <a:r>
              <a:rPr lang="fr-FR" sz="3600" dirty="0">
                <a:solidFill>
                  <a:srgbClr val="404040"/>
                </a:solidFill>
                <a:latin typeface="Kohinoor Devanagari" panose="02000000000000000000" pitchFamily="50" charset="0"/>
                <a:cs typeface="Kohinoor Devanagari" panose="02000000000000000000" pitchFamily="50" charset="0"/>
              </a:rPr>
              <a:t>Objectif et méthodologie</a:t>
            </a:r>
          </a:p>
          <a:p>
            <a:pPr marL="571500" indent="-571500">
              <a:buFont typeface="+mj-lt"/>
              <a:buAutoNum type="romanUcPeriod"/>
            </a:pPr>
            <a:r>
              <a:rPr lang="fr-FR" sz="3600" dirty="0">
                <a:solidFill>
                  <a:srgbClr val="404040"/>
                </a:solidFill>
                <a:latin typeface="Kohinoor Devanagari" panose="02000000000000000000" pitchFamily="50" charset="0"/>
                <a:cs typeface="Kohinoor Devanagari" panose="02000000000000000000" pitchFamily="50" charset="0"/>
              </a:rPr>
              <a:t>Diagnostic juridique et institutionnel</a:t>
            </a:r>
          </a:p>
          <a:p>
            <a:pPr marL="571500" indent="-571500">
              <a:buFont typeface="+mj-lt"/>
              <a:buAutoNum type="romanUcPeriod"/>
            </a:pPr>
            <a:r>
              <a:rPr lang="fr-FR" sz="3600" dirty="0">
                <a:solidFill>
                  <a:srgbClr val="404040"/>
                </a:solidFill>
                <a:latin typeface="Kohinoor Devanagari" panose="02000000000000000000" pitchFamily="50" charset="0"/>
                <a:cs typeface="Kohinoor Devanagari" panose="02000000000000000000" pitchFamily="50" charset="0"/>
              </a:rPr>
              <a:t>Opportunités et obstacles</a:t>
            </a:r>
          </a:p>
          <a:p>
            <a:pPr marL="571500" indent="-571500">
              <a:buFont typeface="+mj-lt"/>
              <a:buAutoNum type="romanUcPeriod"/>
            </a:pPr>
            <a:r>
              <a:rPr lang="fr-FR" sz="3600" dirty="0">
                <a:solidFill>
                  <a:srgbClr val="404040"/>
                </a:solidFill>
                <a:latin typeface="Kohinoor Devanagari" panose="02000000000000000000" pitchFamily="50" charset="0"/>
                <a:cs typeface="Kohinoor Devanagari" panose="02000000000000000000" pitchFamily="50" charset="0"/>
              </a:rPr>
              <a:t>Recommandations</a:t>
            </a:r>
          </a:p>
          <a:p>
            <a:pPr marL="571500" indent="-571500">
              <a:buFont typeface="+mj-lt"/>
              <a:buAutoNum type="romanUcPeriod"/>
            </a:pPr>
            <a:r>
              <a:rPr lang="fr-FR" sz="3600" dirty="0">
                <a:solidFill>
                  <a:srgbClr val="404040"/>
                </a:solidFill>
                <a:latin typeface="Kohinoor Devanagari" panose="02000000000000000000" pitchFamily="50" charset="0"/>
                <a:cs typeface="Kohinoor Devanagari" panose="02000000000000000000" pitchFamily="50" charset="0"/>
              </a:rPr>
              <a:t>Plan de mise en œuvre </a:t>
            </a:r>
          </a:p>
        </p:txBody>
      </p:sp>
      <p:sp>
        <p:nvSpPr>
          <p:cNvPr id="11" name="Espace réservé du numéro de diapositive 10">
            <a:extLst>
              <a:ext uri="{FF2B5EF4-FFF2-40B4-BE49-F238E27FC236}">
                <a16:creationId xmlns:a16="http://schemas.microsoft.com/office/drawing/2014/main" id="{D6D2257C-254E-C1A0-54A6-02EC21C6E72E}"/>
              </a:ext>
            </a:extLst>
          </p:cNvPr>
          <p:cNvSpPr>
            <a:spLocks noGrp="1"/>
          </p:cNvSpPr>
          <p:nvPr>
            <p:ph type="sldNum" sz="quarter" idx="12"/>
          </p:nvPr>
        </p:nvSpPr>
        <p:spPr/>
        <p:txBody>
          <a:bodyPr/>
          <a:lstStyle/>
          <a:p>
            <a:fld id="{9E310995-06A9-4914-9918-BFF4546A1EC5}" type="slidenum">
              <a:rPr lang="fr-FR" smtClean="0"/>
              <a:t>2</a:t>
            </a:fld>
            <a:endParaRPr lang="fr-FR" dirty="0"/>
          </a:p>
        </p:txBody>
      </p:sp>
      <p:grpSp>
        <p:nvGrpSpPr>
          <p:cNvPr id="4" name="docshapegroup29">
            <a:extLst>
              <a:ext uri="{FF2B5EF4-FFF2-40B4-BE49-F238E27FC236}">
                <a16:creationId xmlns:a16="http://schemas.microsoft.com/office/drawing/2014/main" id="{9B88DCC0-AA32-857C-2C4C-9774CEBA8799}"/>
              </a:ext>
            </a:extLst>
          </p:cNvPr>
          <p:cNvGrpSpPr>
            <a:grpSpLocks/>
          </p:cNvGrpSpPr>
          <p:nvPr/>
        </p:nvGrpSpPr>
        <p:grpSpPr bwMode="auto">
          <a:xfrm>
            <a:off x="11118013" y="583996"/>
            <a:ext cx="301886" cy="365125"/>
            <a:chOff x="9864" y="144"/>
            <a:chExt cx="1212" cy="1127"/>
          </a:xfrm>
        </p:grpSpPr>
        <p:sp>
          <p:nvSpPr>
            <p:cNvPr id="5" name="docshape30">
              <a:extLst>
                <a:ext uri="{FF2B5EF4-FFF2-40B4-BE49-F238E27FC236}">
                  <a16:creationId xmlns:a16="http://schemas.microsoft.com/office/drawing/2014/main" id="{B037E2A8-F9EE-68B7-420C-46C34F614C70}"/>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6" name="docshape31">
              <a:extLst>
                <a:ext uri="{FF2B5EF4-FFF2-40B4-BE49-F238E27FC236}">
                  <a16:creationId xmlns:a16="http://schemas.microsoft.com/office/drawing/2014/main" id="{9A5A6145-DDB2-0CE7-2E1E-63AA27082BA3}"/>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7" name="docshape32">
              <a:extLst>
                <a:ext uri="{FF2B5EF4-FFF2-40B4-BE49-F238E27FC236}">
                  <a16:creationId xmlns:a16="http://schemas.microsoft.com/office/drawing/2014/main" id="{F5B896DA-13FE-6B1F-70A5-84E989FF78C0}"/>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8" name="docshape33">
              <a:extLst>
                <a:ext uri="{FF2B5EF4-FFF2-40B4-BE49-F238E27FC236}">
                  <a16:creationId xmlns:a16="http://schemas.microsoft.com/office/drawing/2014/main" id="{52DA2FC9-2ED8-27E9-7BBE-3F9EA1218FC5}"/>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Tree>
    <p:extLst>
      <p:ext uri="{BB962C8B-B14F-4D97-AF65-F5344CB8AC3E}">
        <p14:creationId xmlns:p14="http://schemas.microsoft.com/office/powerpoint/2010/main" val="27144446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Recommandations</a:t>
            </a:r>
            <a:br>
              <a:rPr lang="fr-FR" sz="3500" b="1" dirty="0">
                <a:solidFill>
                  <a:srgbClr val="61BC4D"/>
                </a:solidFill>
                <a:latin typeface="Kohinoor Devanagari" panose="02000000000000000000" pitchFamily="50" charset="0"/>
              </a:rPr>
            </a:b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20</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3" name="Tableau 3">
            <a:extLst>
              <a:ext uri="{FF2B5EF4-FFF2-40B4-BE49-F238E27FC236}">
                <a16:creationId xmlns:a16="http://schemas.microsoft.com/office/drawing/2014/main" id="{E1058F4D-EF9D-A419-D178-2ED0636829D9}"/>
              </a:ext>
            </a:extLst>
          </p:cNvPr>
          <p:cNvGraphicFramePr>
            <a:graphicFrameLocks noGrp="1"/>
          </p:cNvGraphicFramePr>
          <p:nvPr>
            <p:extLst>
              <p:ext uri="{D42A27DB-BD31-4B8C-83A1-F6EECF244321}">
                <p14:modId xmlns:p14="http://schemas.microsoft.com/office/powerpoint/2010/main" val="268919880"/>
              </p:ext>
            </p:extLst>
          </p:nvPr>
        </p:nvGraphicFramePr>
        <p:xfrm>
          <a:off x="939567" y="1323821"/>
          <a:ext cx="10335873" cy="4136760"/>
        </p:xfrm>
        <a:graphic>
          <a:graphicData uri="http://schemas.openxmlformats.org/drawingml/2006/table">
            <a:tbl>
              <a:tblPr firstRow="1" bandRow="1">
                <a:tableStyleId>{7DF18680-E054-41AD-8BC1-D1AEF772440D}</a:tableStyleId>
              </a:tblPr>
              <a:tblGrid>
                <a:gridCol w="1862356">
                  <a:extLst>
                    <a:ext uri="{9D8B030D-6E8A-4147-A177-3AD203B41FA5}">
                      <a16:colId xmlns:a16="http://schemas.microsoft.com/office/drawing/2014/main" val="1057592566"/>
                    </a:ext>
                  </a:extLst>
                </a:gridCol>
                <a:gridCol w="8473517">
                  <a:extLst>
                    <a:ext uri="{9D8B030D-6E8A-4147-A177-3AD203B41FA5}">
                      <a16:colId xmlns:a16="http://schemas.microsoft.com/office/drawing/2014/main" val="1485353904"/>
                    </a:ext>
                  </a:extLst>
                </a:gridCol>
              </a:tblGrid>
              <a:tr h="387720">
                <a:tc>
                  <a:txBody>
                    <a:bodyPr/>
                    <a:lstStyle/>
                    <a:p>
                      <a:r>
                        <a:rPr lang="fr-FR" dirty="0">
                          <a:solidFill>
                            <a:schemeClr val="bg1"/>
                          </a:solidFill>
                        </a:rPr>
                        <a:t>Recommandation</a:t>
                      </a:r>
                    </a:p>
                  </a:txBody>
                  <a:tcPr>
                    <a:solidFill>
                      <a:srgbClr val="657C91"/>
                    </a:solidFill>
                  </a:tcPr>
                </a:tc>
                <a:tc>
                  <a:txBody>
                    <a:bodyPr/>
                    <a:lstStyle/>
                    <a:p>
                      <a:r>
                        <a:rPr lang="fr-FR" dirty="0">
                          <a:solidFill>
                            <a:schemeClr val="bg1"/>
                          </a:solidFill>
                        </a:rPr>
                        <a:t>Détail </a:t>
                      </a:r>
                    </a:p>
                  </a:txBody>
                  <a:tcPr>
                    <a:solidFill>
                      <a:srgbClr val="657C91"/>
                    </a:solidFill>
                  </a:tcPr>
                </a:tc>
                <a:extLst>
                  <a:ext uri="{0D108BD9-81ED-4DB2-BD59-A6C34878D82A}">
                    <a16:rowId xmlns:a16="http://schemas.microsoft.com/office/drawing/2014/main" val="2595839864"/>
                  </a:ext>
                </a:extLst>
              </a:tr>
              <a:tr h="36510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kern="1200" dirty="0">
                          <a:solidFill>
                            <a:srgbClr val="404040"/>
                          </a:solidFill>
                          <a:effectLst/>
                          <a:latin typeface="+mn-lt"/>
                          <a:ea typeface="+mn-ea"/>
                          <a:cs typeface="+mn-cs"/>
                        </a:rPr>
                        <a:t>Clarifier la notion de PPE</a:t>
                      </a:r>
                    </a:p>
                    <a:p>
                      <a:endParaRPr lang="fr-FR" sz="1600" b="1" dirty="0">
                        <a:solidFill>
                          <a:srgbClr val="404040"/>
                        </a:solidFill>
                        <a:latin typeface="Kohinoor Devanagari" panose="02000000000000000000"/>
                      </a:endParaRPr>
                    </a:p>
                    <a:p>
                      <a:endParaRPr lang="fr-FR" sz="1600" b="1" dirty="0">
                        <a:solidFill>
                          <a:srgbClr val="404040"/>
                        </a:solidFill>
                        <a:latin typeface="Kohinoor Devanagari" panose="02000000000000000000"/>
                      </a:endParaRPr>
                    </a:p>
                    <a:p>
                      <a:endParaRPr lang="fr-FR" sz="1600" b="1" dirty="0">
                        <a:solidFill>
                          <a:srgbClr val="404040"/>
                        </a:solidFill>
                        <a:latin typeface="Kohinoor Devanagari" panose="02000000000000000000"/>
                      </a:endParaRPr>
                    </a:p>
                    <a:p>
                      <a:endParaRPr lang="fr-FR" sz="1600" b="1" dirty="0">
                        <a:solidFill>
                          <a:srgbClr val="404040"/>
                        </a:solidFill>
                        <a:latin typeface="Kohinoor Devanagari" panose="02000000000000000000"/>
                      </a:endParaRPr>
                    </a:p>
                    <a:p>
                      <a:endParaRPr lang="fr-FR" sz="1600" b="1" dirty="0">
                        <a:solidFill>
                          <a:srgbClr val="404040"/>
                        </a:solidFill>
                        <a:latin typeface="Kohinoor Devanagari" panose="02000000000000000000"/>
                      </a:endParaRPr>
                    </a:p>
                    <a:p>
                      <a:endParaRPr lang="fr-FR" sz="1600" b="1" dirty="0">
                        <a:solidFill>
                          <a:srgbClr val="404040"/>
                        </a:solidFill>
                        <a:latin typeface="Kohinoor Devanagari" panose="02000000000000000000"/>
                      </a:endParaRPr>
                    </a:p>
                    <a:p>
                      <a:endParaRPr lang="fr-FR" sz="1600" b="1" dirty="0">
                        <a:solidFill>
                          <a:srgbClr val="404040"/>
                        </a:solidFill>
                        <a:latin typeface="Kohinoor Devanagari" panose="02000000000000000000"/>
                      </a:endParaRPr>
                    </a:p>
                    <a:p>
                      <a:endParaRPr lang="fr-FR" sz="1600" b="1" dirty="0">
                        <a:solidFill>
                          <a:srgbClr val="404040"/>
                        </a:solidFill>
                        <a:latin typeface="Kohinoor Devanagari" panose="02000000000000000000"/>
                      </a:endParaRPr>
                    </a:p>
                    <a:p>
                      <a:endParaRPr lang="fr-FR" sz="1600" b="1" dirty="0">
                        <a:solidFill>
                          <a:srgbClr val="404040"/>
                        </a:solidFill>
                        <a:latin typeface="Kohinoor Devanagari" panose="02000000000000000000"/>
                      </a:endParaRPr>
                    </a:p>
                    <a:p>
                      <a:endParaRPr lang="fr-FR" sz="1600" b="1" dirty="0">
                        <a:solidFill>
                          <a:srgbClr val="404040"/>
                        </a:solidFill>
                        <a:latin typeface="Kohinoor Devanagari" panose="02000000000000000000"/>
                      </a:endParaRPr>
                    </a:p>
                  </a:txBody>
                  <a:tcPr>
                    <a:solidFill>
                      <a:srgbClr val="A4E7E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Kohinoor Devanagari" panose="020000000000000000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2000" kern="1200" dirty="0">
                        <a:solidFill>
                          <a:srgbClr val="404040"/>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2000" kern="1200" dirty="0">
                          <a:solidFill>
                            <a:srgbClr val="404040"/>
                          </a:solidFill>
                          <a:effectLst/>
                          <a:latin typeface="+mn-lt"/>
                          <a:ea typeface="+mn-ea"/>
                          <a:cs typeface="+mn-cs"/>
                        </a:rPr>
                        <a:t>Adopter une définition harmonisée des PPE au niveau national. Une définition associant le périmètre étendue de la loi n°003/2006 ; les PPE étrangères du règlement CEMAC pourrait être adoptée dans le cadre du nouveau texte. </a:t>
                      </a:r>
                      <a:endParaRPr lang="fr-FR" sz="2000" kern="1200" dirty="0">
                        <a:solidFill>
                          <a:srgbClr val="404040"/>
                        </a:solidFill>
                        <a:effectLst/>
                        <a:latin typeface="Kohinoor Devanagari" panose="02000000000000000000"/>
                        <a:ea typeface="+mn-ea"/>
                        <a:cs typeface="+mn-cs"/>
                      </a:endParaRPr>
                    </a:p>
                  </a:txBody>
                  <a:tcPr>
                    <a:solidFill>
                      <a:srgbClr val="A4E7E1"/>
                    </a:solidFill>
                  </a:tcPr>
                </a:tc>
                <a:extLst>
                  <a:ext uri="{0D108BD9-81ED-4DB2-BD59-A6C34878D82A}">
                    <a16:rowId xmlns:a16="http://schemas.microsoft.com/office/drawing/2014/main" val="274250255"/>
                  </a:ext>
                </a:extLst>
              </a:tr>
            </a:tbl>
          </a:graphicData>
        </a:graphic>
      </p:graphicFrame>
      <p:graphicFrame>
        <p:nvGraphicFramePr>
          <p:cNvPr id="6" name="Tableau 7">
            <a:extLst>
              <a:ext uri="{FF2B5EF4-FFF2-40B4-BE49-F238E27FC236}">
                <a16:creationId xmlns:a16="http://schemas.microsoft.com/office/drawing/2014/main" id="{F31D8C99-B400-CBC1-EBE7-8429EB98809B}"/>
              </a:ext>
            </a:extLst>
          </p:cNvPr>
          <p:cNvGraphicFramePr>
            <a:graphicFrameLocks noGrp="1"/>
          </p:cNvGraphicFramePr>
          <p:nvPr>
            <p:extLst>
              <p:ext uri="{D42A27DB-BD31-4B8C-83A1-F6EECF244321}">
                <p14:modId xmlns:p14="http://schemas.microsoft.com/office/powerpoint/2010/main" val="1392014233"/>
              </p:ext>
            </p:extLst>
          </p:nvPr>
        </p:nvGraphicFramePr>
        <p:xfrm>
          <a:off x="3018884" y="1774047"/>
          <a:ext cx="7799568" cy="2103120"/>
        </p:xfrm>
        <a:graphic>
          <a:graphicData uri="http://schemas.openxmlformats.org/drawingml/2006/table">
            <a:tbl>
              <a:tblPr firstRow="1" bandRow="1">
                <a:tableStyleId>{5C22544A-7EE6-4342-B048-85BDC9FD1C3A}</a:tableStyleId>
              </a:tblPr>
              <a:tblGrid>
                <a:gridCol w="1458041">
                  <a:extLst>
                    <a:ext uri="{9D8B030D-6E8A-4147-A177-3AD203B41FA5}">
                      <a16:colId xmlns:a16="http://schemas.microsoft.com/office/drawing/2014/main" val="4190890960"/>
                    </a:ext>
                  </a:extLst>
                </a:gridCol>
                <a:gridCol w="3457400">
                  <a:extLst>
                    <a:ext uri="{9D8B030D-6E8A-4147-A177-3AD203B41FA5}">
                      <a16:colId xmlns:a16="http://schemas.microsoft.com/office/drawing/2014/main" val="1062198409"/>
                    </a:ext>
                  </a:extLst>
                </a:gridCol>
                <a:gridCol w="2884127">
                  <a:extLst>
                    <a:ext uri="{9D8B030D-6E8A-4147-A177-3AD203B41FA5}">
                      <a16:colId xmlns:a16="http://schemas.microsoft.com/office/drawing/2014/main" val="1674326224"/>
                    </a:ext>
                  </a:extLst>
                </a:gridCol>
              </a:tblGrid>
              <a:tr h="173525">
                <a:tc>
                  <a:txBody>
                    <a:bodyPr/>
                    <a:lstStyle/>
                    <a:p>
                      <a:pPr algn="just">
                        <a:spcAft>
                          <a:spcPts val="1200"/>
                        </a:spcAft>
                      </a:pPr>
                      <a:r>
                        <a:rPr lang="fr-FR" sz="1600" b="1" dirty="0">
                          <a:solidFill>
                            <a:srgbClr val="FFFFFF"/>
                          </a:solidFill>
                          <a:effectLst/>
                          <a:latin typeface="Kohinoor Devanagari" panose="02000000000000000000"/>
                          <a:ea typeface="Times New Roman" panose="02020603050405020304" pitchFamily="18" charset="0"/>
                        </a:rPr>
                        <a:t>Cadre juridique</a:t>
                      </a:r>
                      <a:endParaRPr lang="fr-FR" sz="1600" dirty="0">
                        <a:effectLst/>
                        <a:latin typeface="Arial" panose="020B0604020202020204" pitchFamily="34" charset="0"/>
                        <a:ea typeface="Times New Roman" panose="02020603050405020304" pitchFamily="18" charset="0"/>
                      </a:endParaRPr>
                    </a:p>
                  </a:txBody>
                  <a:tcPr marL="68580" marR="68580" marT="0" marB="0">
                    <a:solidFill>
                      <a:srgbClr val="748A96"/>
                    </a:solidFill>
                  </a:tcPr>
                </a:tc>
                <a:tc>
                  <a:txBody>
                    <a:bodyPr/>
                    <a:lstStyle/>
                    <a:p>
                      <a:pPr algn="ctr">
                        <a:spcAft>
                          <a:spcPts val="1200"/>
                        </a:spcAft>
                      </a:pPr>
                      <a:r>
                        <a:rPr lang="fr-FR" sz="1600" b="1" dirty="0">
                          <a:solidFill>
                            <a:srgbClr val="FFFFFF"/>
                          </a:solidFill>
                          <a:effectLst/>
                          <a:latin typeface="Kohinoor Devanagari" panose="02000000000000000000"/>
                          <a:ea typeface="Times New Roman" panose="02020603050405020304" pitchFamily="18" charset="0"/>
                        </a:rPr>
                        <a:t>Avantages </a:t>
                      </a:r>
                      <a:endParaRPr lang="fr-FR" sz="1600" dirty="0">
                        <a:effectLst/>
                        <a:latin typeface="Arial" panose="020B0604020202020204" pitchFamily="34" charset="0"/>
                        <a:ea typeface="Times New Roman" panose="02020603050405020304" pitchFamily="18" charset="0"/>
                      </a:endParaRPr>
                    </a:p>
                  </a:txBody>
                  <a:tcPr marL="68580" marR="68580" marT="0" marB="0">
                    <a:solidFill>
                      <a:srgbClr val="748A96"/>
                    </a:solidFill>
                  </a:tcPr>
                </a:tc>
                <a:tc>
                  <a:txBody>
                    <a:bodyPr/>
                    <a:lstStyle/>
                    <a:p>
                      <a:pPr algn="ctr">
                        <a:spcAft>
                          <a:spcPts val="1200"/>
                        </a:spcAft>
                      </a:pPr>
                      <a:r>
                        <a:rPr lang="fr-FR" sz="1600" b="1" dirty="0">
                          <a:solidFill>
                            <a:srgbClr val="FFFFFF"/>
                          </a:solidFill>
                          <a:effectLst/>
                          <a:latin typeface="Kohinoor Devanagari" panose="02000000000000000000"/>
                          <a:ea typeface="Times New Roman" panose="02020603050405020304" pitchFamily="18" charset="0"/>
                        </a:rPr>
                        <a:t>inconvénients </a:t>
                      </a:r>
                      <a:endParaRPr lang="fr-FR" sz="1600" dirty="0">
                        <a:effectLst/>
                        <a:latin typeface="Arial" panose="020B0604020202020204" pitchFamily="34" charset="0"/>
                        <a:ea typeface="Times New Roman" panose="02020603050405020304" pitchFamily="18" charset="0"/>
                      </a:endParaRPr>
                    </a:p>
                  </a:txBody>
                  <a:tcPr marL="68580" marR="68580" marT="0" marB="0">
                    <a:solidFill>
                      <a:srgbClr val="748A96"/>
                    </a:solidFill>
                  </a:tcPr>
                </a:tc>
                <a:extLst>
                  <a:ext uri="{0D108BD9-81ED-4DB2-BD59-A6C34878D82A}">
                    <a16:rowId xmlns:a16="http://schemas.microsoft.com/office/drawing/2014/main" val="1398583784"/>
                  </a:ext>
                </a:extLst>
              </a:tr>
              <a:tr h="991573">
                <a:tc>
                  <a:txBody>
                    <a:bodyPr/>
                    <a:lstStyle/>
                    <a:p>
                      <a:pPr algn="l">
                        <a:spcAft>
                          <a:spcPts val="1200"/>
                        </a:spcAft>
                      </a:pPr>
                      <a:r>
                        <a:rPr lang="fr-FR" sz="1600" b="1" dirty="0">
                          <a:effectLst/>
                          <a:latin typeface="Kohinoor Devanagari" panose="02000000000000000000"/>
                          <a:ea typeface="Times New Roman" panose="02020603050405020304" pitchFamily="18" charset="0"/>
                        </a:rPr>
                        <a:t>Règlement CEMAC</a:t>
                      </a:r>
                      <a:endParaRPr lang="fr-FR" sz="1600" b="1" dirty="0">
                        <a:effectLst/>
                        <a:latin typeface="Arial" panose="020B0604020202020204" pitchFamily="34" charset="0"/>
                        <a:ea typeface="Times New Roman" panose="02020603050405020304" pitchFamily="18" charset="0"/>
                      </a:endParaRPr>
                    </a:p>
                  </a:txBody>
                  <a:tcPr marL="68580" marR="68580" marT="0" marB="0">
                    <a:solidFill>
                      <a:srgbClr val="9DC3E6"/>
                    </a:solidFill>
                  </a:tcPr>
                </a:tc>
                <a:tc>
                  <a:txBody>
                    <a:bodyPr/>
                    <a:lstStyle/>
                    <a:p>
                      <a:pPr marL="342900" lvl="0" indent="-342900" algn="l">
                        <a:spcAft>
                          <a:spcPts val="1200"/>
                        </a:spcAft>
                        <a:buFont typeface="Kohinoor Devanagari" panose="02000000000000000000"/>
                        <a:buChar char="-"/>
                      </a:pPr>
                      <a:r>
                        <a:rPr lang="fr-FR" sz="1600" dirty="0">
                          <a:effectLst/>
                          <a:latin typeface="Kohinoor Devanagari" panose="02000000000000000000"/>
                          <a:ea typeface="Calibri" panose="020F0502020204030204" pitchFamily="34" charset="0"/>
                        </a:rPr>
                        <a:t>Traite des PPE nationaux des PPE étrangers</a:t>
                      </a:r>
                      <a:endParaRPr lang="fr-FR" sz="1600" dirty="0">
                        <a:effectLst/>
                        <a:latin typeface="Arial" panose="020B0604020202020204" pitchFamily="34" charset="0"/>
                        <a:ea typeface="Calibri" panose="020F0502020204030204" pitchFamily="34" charset="0"/>
                      </a:endParaRPr>
                    </a:p>
                    <a:p>
                      <a:pPr marL="342900" lvl="0" indent="-342900" algn="l">
                        <a:spcAft>
                          <a:spcPts val="1200"/>
                        </a:spcAft>
                        <a:buFont typeface="Kohinoor Devanagari" panose="02000000000000000000"/>
                        <a:buChar char="-"/>
                      </a:pPr>
                      <a:r>
                        <a:rPr lang="fr-FR" sz="1600" dirty="0">
                          <a:effectLst/>
                          <a:latin typeface="Kohinoor Devanagari" panose="02000000000000000000"/>
                          <a:ea typeface="Calibri" panose="020F0502020204030204" pitchFamily="34" charset="0"/>
                        </a:rPr>
                        <a:t>Apporte une définition uniforme avec la réglementation sur LBC/LT dans la sous-régions</a:t>
                      </a:r>
                      <a:endParaRPr lang="fr-FR" sz="1600" dirty="0">
                        <a:effectLst/>
                        <a:latin typeface="Arial" panose="020B0604020202020204" pitchFamily="34" charset="0"/>
                        <a:ea typeface="Calibri" panose="020F0502020204030204" pitchFamily="34" charset="0"/>
                      </a:endParaRPr>
                    </a:p>
                  </a:txBody>
                  <a:tcPr marL="68580" marR="68580" marT="0" marB="0">
                    <a:solidFill>
                      <a:srgbClr val="9DC3E6"/>
                    </a:solidFill>
                  </a:tcPr>
                </a:tc>
                <a:tc>
                  <a:txBody>
                    <a:bodyPr/>
                    <a:lstStyle/>
                    <a:p>
                      <a:pPr marL="342900" lvl="0" indent="-342900" algn="l">
                        <a:spcAft>
                          <a:spcPts val="1200"/>
                        </a:spcAft>
                        <a:buFont typeface="Kohinoor Devanagari" panose="02000000000000000000"/>
                        <a:buChar char="-"/>
                      </a:pPr>
                      <a:r>
                        <a:rPr lang="fr-FR" sz="1600" kern="1200" dirty="0">
                          <a:solidFill>
                            <a:schemeClr val="dk1"/>
                          </a:solidFill>
                          <a:effectLst/>
                          <a:latin typeface="Kohinoor Devanagari" panose="02000000000000000000"/>
                          <a:ea typeface="Calibri" panose="020F0502020204030204" pitchFamily="34" charset="0"/>
                          <a:cs typeface="+mn-cs"/>
                        </a:rPr>
                        <a:t>Le définition des PPE nationaux est vague</a:t>
                      </a:r>
                    </a:p>
                  </a:txBody>
                  <a:tcPr marL="68580" marR="68580" marT="0" marB="0">
                    <a:solidFill>
                      <a:srgbClr val="9DC3E6"/>
                    </a:solidFill>
                  </a:tcPr>
                </a:tc>
                <a:extLst>
                  <a:ext uri="{0D108BD9-81ED-4DB2-BD59-A6C34878D82A}">
                    <a16:rowId xmlns:a16="http://schemas.microsoft.com/office/drawing/2014/main" val="1958403082"/>
                  </a:ext>
                </a:extLst>
              </a:tr>
              <a:tr h="460518">
                <a:tc>
                  <a:txBody>
                    <a:bodyPr/>
                    <a:lstStyle/>
                    <a:p>
                      <a:pPr algn="l">
                        <a:spcAft>
                          <a:spcPts val="1200"/>
                        </a:spcAft>
                      </a:pPr>
                      <a:r>
                        <a:rPr lang="fr-FR" sz="1600" b="1" dirty="0">
                          <a:effectLst/>
                          <a:latin typeface="Kohinoor Devanagari" panose="02000000000000000000"/>
                          <a:ea typeface="Times New Roman" panose="02020603050405020304" pitchFamily="18" charset="0"/>
                        </a:rPr>
                        <a:t>PPE </a:t>
                      </a:r>
                      <a:r>
                        <a:rPr lang="fr-FR" sz="1600" b="1" kern="1200" dirty="0">
                          <a:solidFill>
                            <a:schemeClr val="dk1"/>
                          </a:solidFill>
                          <a:effectLst/>
                          <a:latin typeface="Kohinoor Devanagari" panose="02000000000000000000"/>
                          <a:ea typeface="Times New Roman" panose="02020603050405020304" pitchFamily="18" charset="0"/>
                          <a:cs typeface="+mn-cs"/>
                        </a:rPr>
                        <a:t>dans  la </a:t>
                      </a:r>
                      <a:r>
                        <a:rPr lang="fr-FR" sz="1600" b="1" kern="1200" dirty="0">
                          <a:solidFill>
                            <a:schemeClr val="dk1"/>
                          </a:solidFill>
                          <a:effectLst/>
                          <a:latin typeface="Kohinoor Devanagari" panose="02000000000000000000"/>
                          <a:cs typeface="+mn-cs"/>
                        </a:rPr>
                        <a:t>Loi n°003/2006 </a:t>
                      </a:r>
                      <a:r>
                        <a:rPr lang="fr-FR" sz="1600" b="1" kern="1200" dirty="0">
                          <a:solidFill>
                            <a:schemeClr val="dk1"/>
                          </a:solidFill>
                          <a:effectLst/>
                          <a:latin typeface="Kohinoor Devanagari" panose="02000000000000000000"/>
                          <a:ea typeface="Times New Roman" panose="02020603050405020304" pitchFamily="18" charset="0"/>
                          <a:cs typeface="+mn-cs"/>
                        </a:rPr>
                        <a:t> </a:t>
                      </a:r>
                    </a:p>
                  </a:txBody>
                  <a:tcPr marL="68580" marR="68580" marT="0" marB="0">
                    <a:solidFill>
                      <a:schemeClr val="accent2">
                        <a:lumMod val="20000"/>
                        <a:lumOff val="80000"/>
                      </a:schemeClr>
                    </a:solidFill>
                  </a:tcPr>
                </a:tc>
                <a:tc>
                  <a:txBody>
                    <a:bodyPr/>
                    <a:lstStyle/>
                    <a:p>
                      <a:pPr marL="342900" lvl="0" indent="-342900" algn="l">
                        <a:spcAft>
                          <a:spcPts val="1200"/>
                        </a:spcAft>
                        <a:buFont typeface="Kohinoor Devanagari" panose="02000000000000000000"/>
                        <a:buChar char="-"/>
                      </a:pPr>
                      <a:r>
                        <a:rPr lang="fr-FR" sz="1600" dirty="0">
                          <a:effectLst/>
                          <a:latin typeface="Kohinoor Devanagari" panose="02000000000000000000"/>
                          <a:ea typeface="Calibri" panose="020F0502020204030204" pitchFamily="34" charset="0"/>
                        </a:rPr>
                        <a:t>Une définition plus étendue et détaillées des PPE nationaux</a:t>
                      </a:r>
                      <a:endParaRPr lang="fr-FR" sz="1600" dirty="0">
                        <a:effectLst/>
                        <a:latin typeface="Arial" panose="020B0604020202020204" pitchFamily="34" charset="0"/>
                        <a:ea typeface="Calibri" panose="020F0502020204030204" pitchFamily="34" charset="0"/>
                      </a:endParaRPr>
                    </a:p>
                  </a:txBody>
                  <a:tcPr marL="68580" marR="68580" marT="0" marB="0">
                    <a:solidFill>
                      <a:schemeClr val="accent2">
                        <a:lumMod val="20000"/>
                        <a:lumOff val="80000"/>
                      </a:schemeClr>
                    </a:solidFill>
                  </a:tcPr>
                </a:tc>
                <a:tc>
                  <a:txBody>
                    <a:bodyPr/>
                    <a:lstStyle/>
                    <a:p>
                      <a:pPr marL="342900" lvl="0" indent="-342900" algn="l">
                        <a:spcAft>
                          <a:spcPts val="1200"/>
                        </a:spcAft>
                        <a:buFont typeface="Kohinoor Devanagari" panose="02000000000000000000"/>
                        <a:buChar char="-"/>
                      </a:pPr>
                      <a:r>
                        <a:rPr lang="fr-FR" sz="1600" dirty="0">
                          <a:effectLst/>
                          <a:latin typeface="Kohinoor Devanagari" panose="02000000000000000000"/>
                          <a:ea typeface="Calibri" panose="020F0502020204030204" pitchFamily="34" charset="0"/>
                        </a:rPr>
                        <a:t>Ne traite pas des PPE Etrangères.</a:t>
                      </a:r>
                      <a:endParaRPr lang="fr-FR" sz="1600" dirty="0">
                        <a:effectLst/>
                        <a:latin typeface="Arial" panose="020B0604020202020204" pitchFamily="34" charset="0"/>
                        <a:ea typeface="Calibri" panose="020F0502020204030204" pitchFamily="34"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val="590095036"/>
                  </a:ext>
                </a:extLst>
              </a:tr>
            </a:tbl>
          </a:graphicData>
        </a:graphic>
      </p:graphicFrame>
    </p:spTree>
    <p:extLst>
      <p:ext uri="{BB962C8B-B14F-4D97-AF65-F5344CB8AC3E}">
        <p14:creationId xmlns:p14="http://schemas.microsoft.com/office/powerpoint/2010/main" val="2664053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Recommandations</a:t>
            </a:r>
            <a:br>
              <a:rPr lang="fr-FR" sz="3500" b="1" dirty="0">
                <a:solidFill>
                  <a:srgbClr val="61BC4D"/>
                </a:solidFill>
                <a:latin typeface="Kohinoor Devanagari" panose="02000000000000000000" pitchFamily="50" charset="0"/>
              </a:rPr>
            </a:b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21</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3" name="Tableau 3">
            <a:extLst>
              <a:ext uri="{FF2B5EF4-FFF2-40B4-BE49-F238E27FC236}">
                <a16:creationId xmlns:a16="http://schemas.microsoft.com/office/drawing/2014/main" id="{E1058F4D-EF9D-A419-D178-2ED0636829D9}"/>
              </a:ext>
            </a:extLst>
          </p:cNvPr>
          <p:cNvGraphicFramePr>
            <a:graphicFrameLocks noGrp="1"/>
          </p:cNvGraphicFramePr>
          <p:nvPr>
            <p:extLst>
              <p:ext uri="{D42A27DB-BD31-4B8C-83A1-F6EECF244321}">
                <p14:modId xmlns:p14="http://schemas.microsoft.com/office/powerpoint/2010/main" val="2300722059"/>
              </p:ext>
            </p:extLst>
          </p:nvPr>
        </p:nvGraphicFramePr>
        <p:xfrm>
          <a:off x="939567" y="1323821"/>
          <a:ext cx="10335873" cy="5181600"/>
        </p:xfrm>
        <a:graphic>
          <a:graphicData uri="http://schemas.openxmlformats.org/drawingml/2006/table">
            <a:tbl>
              <a:tblPr firstRow="1" bandRow="1">
                <a:tableStyleId>{7DF18680-E054-41AD-8BC1-D1AEF772440D}</a:tableStyleId>
              </a:tblPr>
              <a:tblGrid>
                <a:gridCol w="1954635">
                  <a:extLst>
                    <a:ext uri="{9D8B030D-6E8A-4147-A177-3AD203B41FA5}">
                      <a16:colId xmlns:a16="http://schemas.microsoft.com/office/drawing/2014/main" val="1057592566"/>
                    </a:ext>
                  </a:extLst>
                </a:gridCol>
                <a:gridCol w="8381238">
                  <a:extLst>
                    <a:ext uri="{9D8B030D-6E8A-4147-A177-3AD203B41FA5}">
                      <a16:colId xmlns:a16="http://schemas.microsoft.com/office/drawing/2014/main" val="1485353904"/>
                    </a:ext>
                  </a:extLst>
                </a:gridCol>
              </a:tblGrid>
              <a:tr h="317116">
                <a:tc>
                  <a:txBody>
                    <a:bodyPr/>
                    <a:lstStyle/>
                    <a:p>
                      <a:r>
                        <a:rPr lang="fr-FR" sz="1800" dirty="0">
                          <a:solidFill>
                            <a:schemeClr val="bg1"/>
                          </a:solidFill>
                        </a:rPr>
                        <a:t>Recommandation</a:t>
                      </a:r>
                    </a:p>
                  </a:txBody>
                  <a:tcPr>
                    <a:solidFill>
                      <a:srgbClr val="657C91"/>
                    </a:solidFill>
                  </a:tcPr>
                </a:tc>
                <a:tc>
                  <a:txBody>
                    <a:bodyPr/>
                    <a:lstStyle/>
                    <a:p>
                      <a:r>
                        <a:rPr lang="fr-FR" sz="1800" dirty="0">
                          <a:solidFill>
                            <a:schemeClr val="bg1"/>
                          </a:solidFill>
                        </a:rPr>
                        <a:t>Détail </a:t>
                      </a:r>
                    </a:p>
                  </a:txBody>
                  <a:tcPr>
                    <a:solidFill>
                      <a:srgbClr val="657C91"/>
                    </a:solidFill>
                  </a:tcPr>
                </a:tc>
                <a:extLst>
                  <a:ext uri="{0D108BD9-81ED-4DB2-BD59-A6C34878D82A}">
                    <a16:rowId xmlns:a16="http://schemas.microsoft.com/office/drawing/2014/main" val="2595839864"/>
                  </a:ext>
                </a:extLst>
              </a:tr>
              <a:tr h="4148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kern="1200" dirty="0">
                          <a:solidFill>
                            <a:srgbClr val="404040"/>
                          </a:solidFill>
                          <a:effectLst/>
                          <a:latin typeface="+mn-lt"/>
                          <a:ea typeface="+mn-ea"/>
                          <a:cs typeface="+mn-cs"/>
                        </a:rPr>
                        <a:t>Choix du seuil</a:t>
                      </a:r>
                    </a:p>
                    <a:p>
                      <a:endParaRPr lang="fr-FR" sz="1800" b="1" dirty="0">
                        <a:solidFill>
                          <a:srgbClr val="404040"/>
                        </a:solidFill>
                        <a:latin typeface="Kohinoor Devanagari" panose="02000000000000000000"/>
                      </a:endParaRPr>
                    </a:p>
                  </a:txBody>
                  <a:tcPr>
                    <a:lnB w="12700" cap="flat" cmpd="sng" algn="ctr">
                      <a:noFill/>
                      <a:prstDash val="solid"/>
                      <a:round/>
                      <a:headEnd type="none" w="med" len="med"/>
                      <a:tailEnd type="none" w="med" len="med"/>
                    </a:lnB>
                    <a:noFill/>
                  </a:tcPr>
                </a:tc>
                <a:tc>
                  <a:txBody>
                    <a:bodyPr/>
                    <a:lstStyle/>
                    <a:p>
                      <a:pPr marL="285750" indent="-285750">
                        <a:spcBef>
                          <a:spcPts val="600"/>
                        </a:spcBef>
                        <a:spcAft>
                          <a:spcPts val="600"/>
                        </a:spcAft>
                        <a:buFont typeface="Arial" panose="020B0604020202020204" pitchFamily="34" charset="0"/>
                        <a:buChar char="•"/>
                      </a:pPr>
                      <a:r>
                        <a:rPr lang="fr-FR" sz="1800" kern="1200" dirty="0">
                          <a:solidFill>
                            <a:srgbClr val="404040"/>
                          </a:solidFill>
                          <a:effectLst/>
                          <a:latin typeface="+mn-lt"/>
                          <a:ea typeface="+mn-ea"/>
                          <a:cs typeface="+mn-cs"/>
                        </a:rPr>
                        <a:t>Le règlement CEMAC ne prévoit pas de seuil. Le code minier prévoir le seuil de 5%. Le Guide de mise en œuvre du standard du BE prévoit un seuil de 20%.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FR" sz="1800" kern="1200" dirty="0">
                          <a:solidFill>
                            <a:srgbClr val="404040"/>
                          </a:solidFill>
                          <a:effectLst/>
                          <a:latin typeface="+mn-lt"/>
                          <a:ea typeface="+mn-ea"/>
                          <a:cs typeface="+mn-cs"/>
                        </a:rPr>
                        <a:t>Les seuils retenus pas les pays de mise en œuvre de l'ITIE oscillent entre 0% et 25%.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FR" sz="1800" kern="1200" dirty="0">
                          <a:solidFill>
                            <a:srgbClr val="404040"/>
                          </a:solidFill>
                          <a:effectLst/>
                          <a:latin typeface="+mn-lt"/>
                          <a:ea typeface="+mn-ea"/>
                          <a:cs typeface="+mn-cs"/>
                        </a:rPr>
                        <a:t>La fixation des seuils devrait être associée aux objectif qui sous-tendent la création des registres des bénéficiaires effectif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FR" sz="1800" kern="1200" dirty="0">
                          <a:solidFill>
                            <a:srgbClr val="404040"/>
                          </a:solidFill>
                          <a:effectLst/>
                          <a:latin typeface="+mn-lt"/>
                          <a:ea typeface="+mn-ea"/>
                          <a:cs typeface="+mn-cs"/>
                        </a:rPr>
                        <a:t>A titre d’exemple, le Ghana a retenu </a:t>
                      </a:r>
                      <a:r>
                        <a:rPr lang="fr-FR" sz="1800" b="1" kern="1200" dirty="0">
                          <a:solidFill>
                            <a:srgbClr val="404040"/>
                          </a:solidFill>
                          <a:effectLst/>
                          <a:latin typeface="+mn-lt"/>
                          <a:ea typeface="+mn-ea"/>
                          <a:cs typeface="+mn-cs"/>
                        </a:rPr>
                        <a:t>trois seuils </a:t>
                      </a:r>
                      <a:r>
                        <a:rPr lang="fr-FR" sz="1800" kern="1200" dirty="0">
                          <a:solidFill>
                            <a:srgbClr val="404040"/>
                          </a:solidFill>
                          <a:effectLst/>
                          <a:latin typeface="+mn-lt"/>
                          <a:ea typeface="+mn-ea"/>
                          <a:cs typeface="+mn-cs"/>
                        </a:rPr>
                        <a:t>: un seuil de 10% pour l’ensemble des secteurs économiques, un seuil de 5% pour l’identification des bénéficiaires effectifs dans les secteurs des industries extractives, de l’immobilier, des concessionnaires des voitures d'occasion et du jeu, un seuil de 5% pour l’identification des PEE étrangères et un seuil Zéro pour les PPE nationaux quel qu’en soit le secteur d’activité</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FR" sz="1800" kern="1200" dirty="0">
                          <a:solidFill>
                            <a:srgbClr val="404040"/>
                          </a:solidFill>
                          <a:effectLst/>
                          <a:latin typeface="+mn-lt"/>
                          <a:ea typeface="+mn-ea"/>
                          <a:cs typeface="+mn-cs"/>
                        </a:rPr>
                        <a:t>Un  seuil trop bas peut augmenter le fardeau de déclaration sur les entreprises et nécessitera probablement davantage d’effort de la part de l'État pour vérifier l’exactitude des données Il est donc important de considérer le rapport avantage-coût pour la détermination des seuils. </a:t>
                      </a:r>
                    </a:p>
                  </a:txBody>
                  <a:tcPr>
                    <a:lnB w="12700" cap="flat" cmpd="sng" algn="ctr">
                      <a:solidFill>
                        <a:srgbClr val="92D050"/>
                      </a:solidFill>
                      <a:prstDash val="solid"/>
                      <a:round/>
                      <a:headEnd type="none" w="med" len="med"/>
                      <a:tailEnd type="none" w="med" len="med"/>
                    </a:lnB>
                    <a:noFill/>
                  </a:tcPr>
                </a:tc>
                <a:extLst>
                  <a:ext uri="{0D108BD9-81ED-4DB2-BD59-A6C34878D82A}">
                    <a16:rowId xmlns:a16="http://schemas.microsoft.com/office/drawing/2014/main" val="274250255"/>
                  </a:ext>
                </a:extLst>
              </a:tr>
            </a:tbl>
          </a:graphicData>
        </a:graphic>
      </p:graphicFrame>
    </p:spTree>
    <p:extLst>
      <p:ext uri="{BB962C8B-B14F-4D97-AF65-F5344CB8AC3E}">
        <p14:creationId xmlns:p14="http://schemas.microsoft.com/office/powerpoint/2010/main" val="32142905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Recommandations</a:t>
            </a:r>
            <a:br>
              <a:rPr lang="fr-FR" sz="3500" b="1" dirty="0">
                <a:solidFill>
                  <a:srgbClr val="61BC4D"/>
                </a:solidFill>
                <a:latin typeface="Kohinoor Devanagari" panose="02000000000000000000" pitchFamily="50" charset="0"/>
              </a:rPr>
            </a:b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22</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3" name="Tableau 3">
            <a:extLst>
              <a:ext uri="{FF2B5EF4-FFF2-40B4-BE49-F238E27FC236}">
                <a16:creationId xmlns:a16="http://schemas.microsoft.com/office/drawing/2014/main" id="{E1058F4D-EF9D-A419-D178-2ED0636829D9}"/>
              </a:ext>
            </a:extLst>
          </p:cNvPr>
          <p:cNvGraphicFramePr>
            <a:graphicFrameLocks noGrp="1"/>
          </p:cNvGraphicFramePr>
          <p:nvPr>
            <p:extLst>
              <p:ext uri="{D42A27DB-BD31-4B8C-83A1-F6EECF244321}">
                <p14:modId xmlns:p14="http://schemas.microsoft.com/office/powerpoint/2010/main" val="213995735"/>
              </p:ext>
            </p:extLst>
          </p:nvPr>
        </p:nvGraphicFramePr>
        <p:xfrm>
          <a:off x="939567" y="1323821"/>
          <a:ext cx="10335873" cy="4389120"/>
        </p:xfrm>
        <a:graphic>
          <a:graphicData uri="http://schemas.openxmlformats.org/drawingml/2006/table">
            <a:tbl>
              <a:tblPr firstRow="1" bandRow="1">
                <a:tableStyleId>{7DF18680-E054-41AD-8BC1-D1AEF772440D}</a:tableStyleId>
              </a:tblPr>
              <a:tblGrid>
                <a:gridCol w="1963024">
                  <a:extLst>
                    <a:ext uri="{9D8B030D-6E8A-4147-A177-3AD203B41FA5}">
                      <a16:colId xmlns:a16="http://schemas.microsoft.com/office/drawing/2014/main" val="1057592566"/>
                    </a:ext>
                  </a:extLst>
                </a:gridCol>
                <a:gridCol w="8372849">
                  <a:extLst>
                    <a:ext uri="{9D8B030D-6E8A-4147-A177-3AD203B41FA5}">
                      <a16:colId xmlns:a16="http://schemas.microsoft.com/office/drawing/2014/main" val="1485353904"/>
                    </a:ext>
                  </a:extLst>
                </a:gridCol>
              </a:tblGrid>
              <a:tr h="344059">
                <a:tc>
                  <a:txBody>
                    <a:bodyPr/>
                    <a:lstStyle/>
                    <a:p>
                      <a:r>
                        <a:rPr lang="fr-FR" dirty="0">
                          <a:solidFill>
                            <a:schemeClr val="bg1"/>
                          </a:solidFill>
                        </a:rPr>
                        <a:t>Recommandation</a:t>
                      </a:r>
                    </a:p>
                  </a:txBody>
                  <a:tcPr>
                    <a:solidFill>
                      <a:srgbClr val="657C91"/>
                    </a:solidFill>
                  </a:tcPr>
                </a:tc>
                <a:tc>
                  <a:txBody>
                    <a:bodyPr/>
                    <a:lstStyle/>
                    <a:p>
                      <a:r>
                        <a:rPr lang="fr-FR" dirty="0">
                          <a:solidFill>
                            <a:schemeClr val="bg1"/>
                          </a:solidFill>
                        </a:rPr>
                        <a:t>Détail </a:t>
                      </a:r>
                    </a:p>
                  </a:txBody>
                  <a:tcPr>
                    <a:solidFill>
                      <a:srgbClr val="657C91"/>
                    </a:solidFill>
                  </a:tcPr>
                </a:tc>
                <a:extLst>
                  <a:ext uri="{0D108BD9-81ED-4DB2-BD59-A6C34878D82A}">
                    <a16:rowId xmlns:a16="http://schemas.microsoft.com/office/drawing/2014/main" val="2595839864"/>
                  </a:ext>
                </a:extLst>
              </a:tr>
              <a:tr h="13946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kern="1200" dirty="0">
                          <a:solidFill>
                            <a:srgbClr val="404040"/>
                          </a:solidFill>
                          <a:effectLst/>
                          <a:latin typeface="+mn-lt"/>
                          <a:ea typeface="+mn-ea"/>
                          <a:cs typeface="+mn-cs"/>
                        </a:rPr>
                        <a:t>Périmètre des assujettis </a:t>
                      </a:r>
                    </a:p>
                    <a:p>
                      <a:endParaRPr lang="fr-FR" sz="1800" b="1" dirty="0">
                        <a:solidFill>
                          <a:srgbClr val="404040"/>
                        </a:solidFill>
                        <a:latin typeface="Kohinoor Devanagari" panose="02000000000000000000"/>
                      </a:endParaRPr>
                    </a:p>
                  </a:txBody>
                  <a:tcPr>
                    <a:solidFill>
                      <a:srgbClr val="A4E7E1"/>
                    </a:solidFill>
                  </a:tcPr>
                </a:tc>
                <a:tc>
                  <a:txBody>
                    <a:bodyPr/>
                    <a:lstStyle/>
                    <a:p>
                      <a:r>
                        <a:rPr lang="fr-FR" sz="1800" kern="1200" dirty="0">
                          <a:solidFill>
                            <a:srgbClr val="404040"/>
                          </a:solidFill>
                          <a:effectLst/>
                          <a:latin typeface="+mn-lt"/>
                          <a:ea typeface="+mn-ea"/>
                          <a:cs typeface="+mn-cs"/>
                        </a:rPr>
                        <a:t>Le projet de loi de finances inclut dans le périmètre des assujettis les personnes morales et les constructions juridiques.</a:t>
                      </a:r>
                    </a:p>
                    <a:p>
                      <a:endParaRPr lang="fr-FR" sz="1800" kern="1200" dirty="0">
                        <a:solidFill>
                          <a:srgbClr val="404040"/>
                        </a:solidFill>
                        <a:effectLst/>
                        <a:latin typeface="+mn-lt"/>
                        <a:ea typeface="+mn-ea"/>
                        <a:cs typeface="+mn-cs"/>
                      </a:endParaRPr>
                    </a:p>
                    <a:p>
                      <a:r>
                        <a:rPr lang="fr-FR" sz="1800" kern="1200" dirty="0">
                          <a:solidFill>
                            <a:srgbClr val="404040"/>
                          </a:solidFill>
                          <a:effectLst/>
                          <a:latin typeface="+mn-lt"/>
                          <a:ea typeface="+mn-ea"/>
                          <a:cs typeface="+mn-cs"/>
                        </a:rPr>
                        <a:t>S’assurer que ce périmètre inclut les entreprises qui font une demande de licence ou de contrat pétrolier, gazier ou minier, de production ou d’exploration et les associées dans les contrats pétroliers qui ne sont pas immatriculés au Cameroun. (Exigences 2.5 (a) et 2.5 (f) (iv)</a:t>
                      </a:r>
                    </a:p>
                  </a:txBody>
                  <a:tcPr>
                    <a:solidFill>
                      <a:srgbClr val="A4E7E1"/>
                    </a:solidFill>
                  </a:tcPr>
                </a:tc>
                <a:extLst>
                  <a:ext uri="{0D108BD9-81ED-4DB2-BD59-A6C34878D82A}">
                    <a16:rowId xmlns:a16="http://schemas.microsoft.com/office/drawing/2014/main" val="274250255"/>
                  </a:ext>
                </a:extLst>
              </a:tr>
              <a:tr h="1442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kern="1200" dirty="0">
                          <a:solidFill>
                            <a:srgbClr val="404040"/>
                          </a:solidFill>
                          <a:effectLst/>
                          <a:latin typeface="+mn-lt"/>
                          <a:ea typeface="+mn-ea"/>
                          <a:cs typeface="+mn-cs"/>
                        </a:rPr>
                        <a:t>Registre public des B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800" kern="1200" dirty="0">
                        <a:solidFill>
                          <a:srgbClr val="404040"/>
                        </a:solidFill>
                        <a:effectLst/>
                        <a:latin typeface="+mn-lt"/>
                        <a:ea typeface="+mn-ea"/>
                        <a:cs typeface="+mn-cs"/>
                      </a:endParaRPr>
                    </a:p>
                  </a:txBody>
                  <a:tcPr>
                    <a:lnB w="12700" cap="flat" cmpd="sng" algn="ctr">
                      <a:solidFill>
                        <a:srgbClr val="92D050"/>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800" b="0" kern="1200" dirty="0">
                          <a:solidFill>
                            <a:srgbClr val="404040"/>
                          </a:solidFill>
                          <a:effectLst/>
                          <a:latin typeface="+mn-lt"/>
                          <a:ea typeface="+mn-ea"/>
                          <a:cs typeface="+mn-cs"/>
                        </a:rPr>
                        <a:t>Il est recommandé de mettre en place un registre central des B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FR" sz="1800" b="0" kern="1200" dirty="0">
                        <a:solidFill>
                          <a:srgbClr val="404040"/>
                        </a:solidFill>
                        <a:effectLst/>
                        <a:latin typeface="+mn-lt"/>
                        <a:ea typeface="+mn-ea"/>
                        <a:cs typeface="+mn-cs"/>
                      </a:endParaRPr>
                    </a:p>
                    <a:p>
                      <a:pPr marL="0" indent="0" algn="l" defTabSz="914400" rtl="0" eaLnBrk="1" latinLnBrk="0" hangingPunct="1">
                        <a:buFont typeface="Arial" panose="020B0604020202020204" pitchFamily="34" charset="0"/>
                        <a:buNone/>
                      </a:pPr>
                      <a:r>
                        <a:rPr lang="fr-FR" sz="1800" b="0" kern="1200" dirty="0">
                          <a:solidFill>
                            <a:srgbClr val="404040"/>
                          </a:solidFill>
                          <a:effectLst/>
                          <a:latin typeface="+mn-lt"/>
                          <a:ea typeface="+mn-ea"/>
                          <a:cs typeface="+mn-cs"/>
                        </a:rPr>
                        <a:t>Il est important que le registre permette de  :</a:t>
                      </a:r>
                    </a:p>
                    <a:p>
                      <a:pPr marL="285750" lvl="0" indent="-285750" algn="l" defTabSz="914400" rtl="0" eaLnBrk="1" latinLnBrk="0" hangingPunct="1">
                        <a:buFont typeface="Arial" panose="020B0604020202020204" pitchFamily="34" charset="0"/>
                        <a:buChar char="•"/>
                      </a:pPr>
                      <a:r>
                        <a:rPr lang="fr-FR" sz="1800" b="0" kern="1200" dirty="0">
                          <a:solidFill>
                            <a:srgbClr val="404040"/>
                          </a:solidFill>
                          <a:effectLst/>
                          <a:latin typeface="+mn-lt"/>
                          <a:ea typeface="+mn-ea"/>
                          <a:cs typeface="+mn-cs"/>
                        </a:rPr>
                        <a:t>collecter des données suffisantes et complètes ;</a:t>
                      </a:r>
                    </a:p>
                    <a:p>
                      <a:pPr marL="285750" lvl="0" indent="-285750" algn="l" defTabSz="914400" rtl="0" eaLnBrk="1" latinLnBrk="0" hangingPunct="1">
                        <a:buFont typeface="Arial" panose="020B0604020202020204" pitchFamily="34" charset="0"/>
                        <a:buChar char="•"/>
                      </a:pPr>
                      <a:r>
                        <a:rPr lang="fr-FR" sz="1800" b="0" kern="1200" dirty="0">
                          <a:solidFill>
                            <a:srgbClr val="404040"/>
                          </a:solidFill>
                          <a:effectLst/>
                          <a:latin typeface="+mn-lt"/>
                          <a:ea typeface="+mn-ea"/>
                          <a:cs typeface="+mn-cs"/>
                        </a:rPr>
                        <a:t>rapprocher et recouper les données entre les systèmes gouvernementaux  ;</a:t>
                      </a:r>
                    </a:p>
                    <a:p>
                      <a:pPr marL="285750" lvl="0" indent="-285750" algn="l" defTabSz="914400" rtl="0" eaLnBrk="1" latinLnBrk="0" hangingPunct="1">
                        <a:buFont typeface="Arial" panose="020B0604020202020204" pitchFamily="34" charset="0"/>
                        <a:buChar char="•"/>
                      </a:pPr>
                      <a:r>
                        <a:rPr lang="fr-FR" sz="1800" b="0" kern="1200" dirty="0">
                          <a:solidFill>
                            <a:srgbClr val="404040"/>
                          </a:solidFill>
                          <a:effectLst/>
                          <a:latin typeface="+mn-lt"/>
                          <a:ea typeface="+mn-ea"/>
                          <a:cs typeface="+mn-cs"/>
                        </a:rPr>
                        <a:t>suivre l'historique des informations et de leur provenance ; et </a:t>
                      </a:r>
                    </a:p>
                    <a:p>
                      <a:pPr marL="285750" lvl="0" indent="-285750" algn="l" defTabSz="914400" rtl="0" eaLnBrk="1" latinLnBrk="0" hangingPunct="1">
                        <a:buFont typeface="Arial" panose="020B0604020202020204" pitchFamily="34" charset="0"/>
                        <a:buChar char="•"/>
                      </a:pPr>
                      <a:r>
                        <a:rPr lang="fr-FR" sz="1800" b="0" kern="1200" dirty="0">
                          <a:solidFill>
                            <a:srgbClr val="404040"/>
                          </a:solidFill>
                          <a:effectLst/>
                          <a:latin typeface="+mn-lt"/>
                          <a:ea typeface="+mn-ea"/>
                          <a:cs typeface="+mn-cs"/>
                        </a:rPr>
                        <a:t>analyser les données. </a:t>
                      </a:r>
                    </a:p>
                  </a:txBody>
                  <a:tcPr>
                    <a:lnB w="12700" cap="flat" cmpd="sng" algn="ctr">
                      <a:solidFill>
                        <a:srgbClr val="92D050"/>
                      </a:solidFill>
                      <a:prstDash val="solid"/>
                      <a:round/>
                      <a:headEnd type="none" w="med" len="med"/>
                      <a:tailEnd type="none" w="med" len="med"/>
                    </a:lnB>
                    <a:noFill/>
                  </a:tcPr>
                </a:tc>
                <a:extLst>
                  <a:ext uri="{0D108BD9-81ED-4DB2-BD59-A6C34878D82A}">
                    <a16:rowId xmlns:a16="http://schemas.microsoft.com/office/drawing/2014/main" val="3025638769"/>
                  </a:ext>
                </a:extLst>
              </a:tr>
            </a:tbl>
          </a:graphicData>
        </a:graphic>
      </p:graphicFrame>
    </p:spTree>
    <p:extLst>
      <p:ext uri="{BB962C8B-B14F-4D97-AF65-F5344CB8AC3E}">
        <p14:creationId xmlns:p14="http://schemas.microsoft.com/office/powerpoint/2010/main" val="19639836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Recommandations</a:t>
            </a:r>
            <a:br>
              <a:rPr lang="fr-FR" sz="3500" b="1" dirty="0">
                <a:solidFill>
                  <a:srgbClr val="61BC4D"/>
                </a:solidFill>
                <a:latin typeface="Kohinoor Devanagari" panose="02000000000000000000" pitchFamily="50" charset="0"/>
              </a:rPr>
            </a:b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23</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3" name="Tableau 3">
            <a:extLst>
              <a:ext uri="{FF2B5EF4-FFF2-40B4-BE49-F238E27FC236}">
                <a16:creationId xmlns:a16="http://schemas.microsoft.com/office/drawing/2014/main" id="{E1058F4D-EF9D-A419-D178-2ED0636829D9}"/>
              </a:ext>
            </a:extLst>
          </p:cNvPr>
          <p:cNvGraphicFramePr>
            <a:graphicFrameLocks noGrp="1"/>
          </p:cNvGraphicFramePr>
          <p:nvPr>
            <p:extLst>
              <p:ext uri="{D42A27DB-BD31-4B8C-83A1-F6EECF244321}">
                <p14:modId xmlns:p14="http://schemas.microsoft.com/office/powerpoint/2010/main" val="3740456347"/>
              </p:ext>
            </p:extLst>
          </p:nvPr>
        </p:nvGraphicFramePr>
        <p:xfrm>
          <a:off x="939567" y="1323821"/>
          <a:ext cx="10335873" cy="5364480"/>
        </p:xfrm>
        <a:graphic>
          <a:graphicData uri="http://schemas.openxmlformats.org/drawingml/2006/table">
            <a:tbl>
              <a:tblPr firstRow="1" bandRow="1">
                <a:tableStyleId>{7DF18680-E054-41AD-8BC1-D1AEF772440D}</a:tableStyleId>
              </a:tblPr>
              <a:tblGrid>
                <a:gridCol w="1963024">
                  <a:extLst>
                    <a:ext uri="{9D8B030D-6E8A-4147-A177-3AD203B41FA5}">
                      <a16:colId xmlns:a16="http://schemas.microsoft.com/office/drawing/2014/main" val="1057592566"/>
                    </a:ext>
                  </a:extLst>
                </a:gridCol>
                <a:gridCol w="8372849">
                  <a:extLst>
                    <a:ext uri="{9D8B030D-6E8A-4147-A177-3AD203B41FA5}">
                      <a16:colId xmlns:a16="http://schemas.microsoft.com/office/drawing/2014/main" val="1485353904"/>
                    </a:ext>
                  </a:extLst>
                </a:gridCol>
              </a:tblGrid>
              <a:tr h="344059">
                <a:tc>
                  <a:txBody>
                    <a:bodyPr/>
                    <a:lstStyle/>
                    <a:p>
                      <a:r>
                        <a:rPr lang="fr-FR" dirty="0">
                          <a:solidFill>
                            <a:schemeClr val="bg1"/>
                          </a:solidFill>
                        </a:rPr>
                        <a:t>Recommandation</a:t>
                      </a:r>
                    </a:p>
                  </a:txBody>
                  <a:tcPr>
                    <a:solidFill>
                      <a:srgbClr val="657C91"/>
                    </a:solidFill>
                  </a:tcPr>
                </a:tc>
                <a:tc>
                  <a:txBody>
                    <a:bodyPr/>
                    <a:lstStyle/>
                    <a:p>
                      <a:r>
                        <a:rPr lang="fr-FR" dirty="0">
                          <a:solidFill>
                            <a:schemeClr val="bg1"/>
                          </a:solidFill>
                        </a:rPr>
                        <a:t>Détail </a:t>
                      </a:r>
                    </a:p>
                  </a:txBody>
                  <a:tcPr>
                    <a:solidFill>
                      <a:srgbClr val="657C91"/>
                    </a:solidFill>
                  </a:tcPr>
                </a:tc>
                <a:extLst>
                  <a:ext uri="{0D108BD9-81ED-4DB2-BD59-A6C34878D82A}">
                    <a16:rowId xmlns:a16="http://schemas.microsoft.com/office/drawing/2014/main" val="2595839864"/>
                  </a:ext>
                </a:extLst>
              </a:tr>
              <a:tr h="1691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1" kern="1200" dirty="0">
                          <a:solidFill>
                            <a:srgbClr val="404040"/>
                          </a:solidFill>
                          <a:effectLst/>
                          <a:latin typeface="+mn-lt"/>
                          <a:ea typeface="+mn-ea"/>
                          <a:cs typeface="+mn-cs"/>
                        </a:rPr>
                        <a:t>San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kern="1200" dirty="0">
                        <a:solidFill>
                          <a:srgbClr val="404040"/>
                        </a:solidFill>
                        <a:effectLst/>
                        <a:latin typeface="+mn-lt"/>
                        <a:ea typeface="+mn-ea"/>
                        <a:cs typeface="+mn-cs"/>
                      </a:endParaRPr>
                    </a:p>
                  </a:txBody>
                  <a:tcPr>
                    <a:lnB w="12700" cap="flat" cmpd="sng" algn="ctr">
                      <a:solidFill>
                        <a:srgbClr val="92D050"/>
                      </a:solidFill>
                      <a:prstDash val="solid"/>
                      <a:round/>
                      <a:headEnd type="none" w="med" len="med"/>
                      <a:tailEnd type="none" w="med" len="med"/>
                    </a:lnB>
                    <a:noFill/>
                  </a:tcPr>
                </a:tc>
                <a:tc>
                  <a:txBody>
                    <a:bodyPr/>
                    <a:lstStyle/>
                    <a:p>
                      <a:pPr marL="285750" indent="-285750">
                        <a:spcBef>
                          <a:spcPts val="300"/>
                        </a:spcBef>
                        <a:spcAft>
                          <a:spcPts val="300"/>
                        </a:spcAft>
                        <a:buFont typeface="Arial" panose="020B0604020202020204" pitchFamily="34" charset="0"/>
                        <a:buChar char="•"/>
                      </a:pPr>
                      <a:r>
                        <a:rPr lang="fr-FR" sz="1800" kern="1200" dirty="0">
                          <a:solidFill>
                            <a:srgbClr val="404040"/>
                          </a:solidFill>
                          <a:effectLst/>
                          <a:latin typeface="+mn-lt"/>
                          <a:ea typeface="+mn-ea"/>
                          <a:cs typeface="+mn-cs"/>
                        </a:rPr>
                        <a:t>Les</a:t>
                      </a:r>
                      <a:r>
                        <a:rPr lang="fr-FR" sz="1800" u="sng" kern="1200" dirty="0">
                          <a:solidFill>
                            <a:srgbClr val="404040"/>
                          </a:solidFill>
                          <a:effectLst/>
                          <a:latin typeface="+mn-lt"/>
                          <a:ea typeface="+mn-ea"/>
                          <a:cs typeface="+mn-cs"/>
                          <a:hlinkClick r:id="rId2">
                            <a:extLst>
                              <a:ext uri="{A12FA001-AC4F-418D-AE19-62706E023703}">
                                <ahyp:hlinkClr xmlns:ahyp="http://schemas.microsoft.com/office/drawing/2018/hyperlinkcolor" val="tx"/>
                              </a:ext>
                            </a:extLst>
                          </a:hlinkClick>
                        </a:rPr>
                        <a:t> lignes directrices</a:t>
                      </a:r>
                      <a:r>
                        <a:rPr lang="fr-FR" sz="1800" kern="1200" dirty="0">
                          <a:solidFill>
                            <a:srgbClr val="404040"/>
                          </a:solidFill>
                          <a:effectLst/>
                          <a:latin typeface="+mn-lt"/>
                          <a:ea typeface="+mn-ea"/>
                          <a:cs typeface="+mn-cs"/>
                        </a:rPr>
                        <a:t> (2019) du GAFI sur les bonnes pratiques en matière de la propriété effective recommande d'appliquer des sanctions efficaces, proportionnées et dissuasives. Celles-ci peuvent inclure des sanctions administratives, pénales ou civile.</a:t>
                      </a:r>
                    </a:p>
                    <a:p>
                      <a:pPr marL="285750" indent="-285750">
                        <a:spcBef>
                          <a:spcPts val="300"/>
                        </a:spcBef>
                        <a:spcAft>
                          <a:spcPts val="300"/>
                        </a:spcAft>
                        <a:buFont typeface="Arial" panose="020B0604020202020204" pitchFamily="34" charset="0"/>
                        <a:buChar char="•"/>
                      </a:pPr>
                      <a:r>
                        <a:rPr lang="fr-FR" sz="1800" kern="1200" dirty="0">
                          <a:solidFill>
                            <a:srgbClr val="404040"/>
                          </a:solidFill>
                          <a:effectLst/>
                          <a:latin typeface="+mn-lt"/>
                          <a:ea typeface="+mn-ea"/>
                          <a:cs typeface="+mn-cs"/>
                        </a:rPr>
                        <a:t>Les sanctions administratives peuvent inclure le refus de délivrance d’un permis et refuser de poursuivre une activité demandée jusqu'à ce que toutes les informations demandées soient soumises. </a:t>
                      </a:r>
                    </a:p>
                    <a:p>
                      <a:pPr marL="285750" indent="-285750">
                        <a:spcBef>
                          <a:spcPts val="300"/>
                        </a:spcBef>
                        <a:spcAft>
                          <a:spcPts val="300"/>
                        </a:spcAft>
                        <a:buFont typeface="Arial" panose="020B0604020202020204" pitchFamily="34" charset="0"/>
                        <a:buChar char="•"/>
                      </a:pPr>
                      <a:r>
                        <a:rPr lang="fr-FR" sz="1800" kern="1200" dirty="0">
                          <a:solidFill>
                            <a:srgbClr val="404040"/>
                          </a:solidFill>
                          <a:effectLst/>
                          <a:latin typeface="+mn-lt"/>
                          <a:ea typeface="+mn-ea"/>
                          <a:cs typeface="+mn-cs"/>
                        </a:rPr>
                        <a:t>Parmi les sanctions civiles, on pourra prévoir la suspension des droits de vote des titulaires d’actions, la mise sous séquestre des actions, lorsque n’aura pas été établie la déclaration du Bénéficiaire Effectif. </a:t>
                      </a:r>
                    </a:p>
                  </a:txBody>
                  <a:tcPr>
                    <a:lnB w="12700" cap="flat" cmpd="sng" algn="ctr">
                      <a:solidFill>
                        <a:srgbClr val="92D050"/>
                      </a:solidFill>
                      <a:prstDash val="solid"/>
                      <a:round/>
                      <a:headEnd type="none" w="med" len="med"/>
                      <a:tailEnd type="none" w="med" len="med"/>
                    </a:lnB>
                    <a:noFill/>
                  </a:tcPr>
                </a:tc>
                <a:extLst>
                  <a:ext uri="{0D108BD9-81ED-4DB2-BD59-A6C34878D82A}">
                    <a16:rowId xmlns:a16="http://schemas.microsoft.com/office/drawing/2014/main" val="3025638769"/>
                  </a:ext>
                </a:extLst>
              </a:tr>
              <a:tr h="1691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1" kern="1200" dirty="0">
                          <a:solidFill>
                            <a:srgbClr val="404040"/>
                          </a:solidFill>
                          <a:effectLst/>
                          <a:latin typeface="+mn-lt"/>
                          <a:ea typeface="+mn-ea"/>
                          <a:cs typeface="+mn-cs"/>
                        </a:rPr>
                        <a:t>Traitement des sociétés cotées en bourse </a:t>
                      </a:r>
                    </a:p>
                  </a:txBody>
                  <a:tcP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rgbClr val="75DBD3"/>
                    </a:solidFill>
                  </a:tcPr>
                </a:tc>
                <a:tc>
                  <a:txBody>
                    <a:bodyPr/>
                    <a:lstStyle/>
                    <a:p>
                      <a:pPr marL="285750" indent="-285750">
                        <a:buFont typeface="Arial" panose="020B0604020202020204" pitchFamily="34" charset="0"/>
                        <a:buChar char="•"/>
                      </a:pPr>
                      <a:r>
                        <a:rPr lang="fr-FR" sz="1800" kern="1200" dirty="0">
                          <a:solidFill>
                            <a:srgbClr val="404040"/>
                          </a:solidFill>
                          <a:effectLst/>
                          <a:latin typeface="+mn-lt"/>
                          <a:ea typeface="+mn-ea"/>
                          <a:cs typeface="+mn-cs"/>
                        </a:rPr>
                        <a:t>La Norme ITIE requière la divulgation pour les sociétés cotées et les filiales exclusives des sociétés cotées la sur quelle Bourse de valeurs elles sont cotées et d’indiquer un lien vers la documentation qu’elles ont à déposer auprès de l’autorité financière ou du marché boursier afin de faciliter l’accès du grand public à de telles informations sur la propriété effective.</a:t>
                      </a:r>
                    </a:p>
                    <a:p>
                      <a:pPr marL="285750" indent="-285750">
                        <a:buFont typeface="Arial" panose="020B0604020202020204" pitchFamily="34" charset="0"/>
                        <a:buChar char="•"/>
                      </a:pPr>
                      <a:r>
                        <a:rPr lang="fr-FR" sz="1800" kern="1200" dirty="0">
                          <a:solidFill>
                            <a:srgbClr val="404040"/>
                          </a:solidFill>
                          <a:effectLst/>
                          <a:latin typeface="+mn-lt"/>
                          <a:ea typeface="+mn-ea"/>
                          <a:cs typeface="+mn-cs"/>
                        </a:rPr>
                        <a:t>Prévoir dans le texte d’application la divulgation en plus des données sur les BE les informations requises par la Norme.</a:t>
                      </a:r>
                    </a:p>
                  </a:txBody>
                  <a:tcP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rgbClr val="75DBD3"/>
                    </a:solidFill>
                  </a:tcPr>
                </a:tc>
                <a:extLst>
                  <a:ext uri="{0D108BD9-81ED-4DB2-BD59-A6C34878D82A}">
                    <a16:rowId xmlns:a16="http://schemas.microsoft.com/office/drawing/2014/main" val="3325434863"/>
                  </a:ext>
                </a:extLst>
              </a:tr>
            </a:tbl>
          </a:graphicData>
        </a:graphic>
      </p:graphicFrame>
    </p:spTree>
    <p:extLst>
      <p:ext uri="{BB962C8B-B14F-4D97-AF65-F5344CB8AC3E}">
        <p14:creationId xmlns:p14="http://schemas.microsoft.com/office/powerpoint/2010/main" val="23213213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171702"/>
            <a:ext cx="10523706" cy="894944"/>
          </a:xfrm>
        </p:spPr>
        <p:txBody>
          <a:bodyPr>
            <a:normAutofit fontScale="90000"/>
          </a:bodyPr>
          <a:lstStyle/>
          <a:p>
            <a:r>
              <a:rPr lang="fr-FR" sz="3500" b="1" dirty="0">
                <a:solidFill>
                  <a:srgbClr val="61BC4D"/>
                </a:solidFill>
                <a:latin typeface="Kohinoor Devanagari" panose="02000000000000000000" pitchFamily="50" charset="0"/>
              </a:rPr>
              <a:t>Recommandations</a:t>
            </a:r>
            <a:br>
              <a:rPr lang="fr-FR" sz="3500" b="1" dirty="0">
                <a:solidFill>
                  <a:srgbClr val="61BC4D"/>
                </a:solidFill>
                <a:latin typeface="Kohinoor Devanagari" panose="02000000000000000000" pitchFamily="50" charset="0"/>
              </a:rPr>
            </a:b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24</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360411"/>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3" name="Tableau 3">
            <a:extLst>
              <a:ext uri="{FF2B5EF4-FFF2-40B4-BE49-F238E27FC236}">
                <a16:creationId xmlns:a16="http://schemas.microsoft.com/office/drawing/2014/main" id="{E1058F4D-EF9D-A419-D178-2ED0636829D9}"/>
              </a:ext>
            </a:extLst>
          </p:cNvPr>
          <p:cNvGraphicFramePr>
            <a:graphicFrameLocks noGrp="1"/>
          </p:cNvGraphicFramePr>
          <p:nvPr>
            <p:extLst>
              <p:ext uri="{D42A27DB-BD31-4B8C-83A1-F6EECF244321}">
                <p14:modId xmlns:p14="http://schemas.microsoft.com/office/powerpoint/2010/main" val="3346074037"/>
              </p:ext>
            </p:extLst>
          </p:nvPr>
        </p:nvGraphicFramePr>
        <p:xfrm>
          <a:off x="497001" y="848360"/>
          <a:ext cx="10778439" cy="5897880"/>
        </p:xfrm>
        <a:graphic>
          <a:graphicData uri="http://schemas.openxmlformats.org/drawingml/2006/table">
            <a:tbl>
              <a:tblPr firstRow="1" bandRow="1">
                <a:tableStyleId>{7DF18680-E054-41AD-8BC1-D1AEF772440D}</a:tableStyleId>
              </a:tblPr>
              <a:tblGrid>
                <a:gridCol w="1980892">
                  <a:extLst>
                    <a:ext uri="{9D8B030D-6E8A-4147-A177-3AD203B41FA5}">
                      <a16:colId xmlns:a16="http://schemas.microsoft.com/office/drawing/2014/main" val="1057592566"/>
                    </a:ext>
                  </a:extLst>
                </a:gridCol>
                <a:gridCol w="8797547">
                  <a:extLst>
                    <a:ext uri="{9D8B030D-6E8A-4147-A177-3AD203B41FA5}">
                      <a16:colId xmlns:a16="http://schemas.microsoft.com/office/drawing/2014/main" val="1485353904"/>
                    </a:ext>
                  </a:extLst>
                </a:gridCol>
              </a:tblGrid>
              <a:tr h="329884">
                <a:tc>
                  <a:txBody>
                    <a:bodyPr/>
                    <a:lstStyle/>
                    <a:p>
                      <a:r>
                        <a:rPr lang="fr-FR" dirty="0">
                          <a:solidFill>
                            <a:schemeClr val="bg1"/>
                          </a:solidFill>
                        </a:rPr>
                        <a:t>Recommandation</a:t>
                      </a:r>
                    </a:p>
                  </a:txBody>
                  <a:tcPr>
                    <a:solidFill>
                      <a:srgbClr val="657C91"/>
                    </a:solidFill>
                  </a:tcPr>
                </a:tc>
                <a:tc>
                  <a:txBody>
                    <a:bodyPr/>
                    <a:lstStyle/>
                    <a:p>
                      <a:r>
                        <a:rPr lang="fr-FR" dirty="0">
                          <a:solidFill>
                            <a:schemeClr val="bg1"/>
                          </a:solidFill>
                        </a:rPr>
                        <a:t>Détail </a:t>
                      </a:r>
                    </a:p>
                  </a:txBody>
                  <a:tcPr>
                    <a:solidFill>
                      <a:srgbClr val="657C91"/>
                    </a:solidFill>
                  </a:tcPr>
                </a:tc>
                <a:extLst>
                  <a:ext uri="{0D108BD9-81ED-4DB2-BD59-A6C34878D82A}">
                    <a16:rowId xmlns:a16="http://schemas.microsoft.com/office/drawing/2014/main" val="2595839864"/>
                  </a:ext>
                </a:extLst>
              </a:tr>
              <a:tr h="44809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700" b="1" kern="1200" dirty="0">
                          <a:solidFill>
                            <a:srgbClr val="404040"/>
                          </a:solidFill>
                          <a:effectLst/>
                          <a:latin typeface="+mn-lt"/>
                          <a:ea typeface="+mn-ea"/>
                          <a:cs typeface="+mn-cs"/>
                        </a:rPr>
                        <a:t>Accès aux données</a:t>
                      </a:r>
                    </a:p>
                    <a:p>
                      <a:endParaRPr lang="fr-FR" sz="1700" b="1" dirty="0">
                        <a:solidFill>
                          <a:srgbClr val="404040"/>
                        </a:solidFill>
                        <a:latin typeface="Kohinoor Devanagari" panose="02000000000000000000"/>
                      </a:endParaRPr>
                    </a:p>
                  </a:txBody>
                  <a:tcPr>
                    <a:solidFill>
                      <a:srgbClr val="A4E7E1"/>
                    </a:solidFill>
                  </a:tcPr>
                </a:tc>
                <a:tc>
                  <a:txBody>
                    <a:bodyPr/>
                    <a:lstStyle/>
                    <a:p>
                      <a:r>
                        <a:rPr lang="fr-FR" sz="1700" kern="1200" dirty="0">
                          <a:solidFill>
                            <a:srgbClr val="404040"/>
                          </a:solidFill>
                          <a:effectLst/>
                          <a:latin typeface="+mn-lt"/>
                          <a:ea typeface="+mn-ea"/>
                          <a:cs typeface="+mn-cs"/>
                        </a:rPr>
                        <a:t>La Norme ITIE requière la tenue d’un registre public des bénéficiaires effectifs des entreprises qui font une demande de licence ou de contrat pétrolier, gazier ou minier, de production ou d’exploration, ou y détiennent une participation directe et cela devra inclure l’identité de leurs bénéficiaires effectifs, leur degré de participation, et les modalités d’exercice de cette participation ou du contrôle desdites entreprises. Ce modèle a l’avantage de conférer à toutes les parties directement concernées (organismes chargés de l’application de la loi, institutions financières, …) la possibilité d’obtenir sans délai l’information sur les BE. </a:t>
                      </a:r>
                    </a:p>
                    <a:p>
                      <a:endParaRPr lang="fr-FR" sz="1700" kern="1200" dirty="0">
                        <a:solidFill>
                          <a:srgbClr val="404040"/>
                        </a:solidFill>
                        <a:effectLst/>
                        <a:latin typeface="+mn-lt"/>
                        <a:ea typeface="+mn-ea"/>
                        <a:cs typeface="+mn-cs"/>
                      </a:endParaRPr>
                    </a:p>
                    <a:p>
                      <a:pPr marL="0" algn="l" defTabSz="914400" rtl="0" eaLnBrk="1" latinLnBrk="0" hangingPunct="1"/>
                      <a:r>
                        <a:rPr lang="fr-FR" sz="1700" kern="1200" dirty="0">
                          <a:solidFill>
                            <a:srgbClr val="404040"/>
                          </a:solidFill>
                          <a:effectLst/>
                          <a:latin typeface="+mn-lt"/>
                          <a:ea typeface="+mn-ea"/>
                          <a:cs typeface="+mn-cs"/>
                        </a:rPr>
                        <a:t>Le Cameroun pourrait adopter </a:t>
                      </a:r>
                      <a:r>
                        <a:rPr lang="fr-FR" sz="1700" b="1" kern="1200" dirty="0">
                          <a:solidFill>
                            <a:srgbClr val="404040"/>
                          </a:solidFill>
                          <a:effectLst/>
                          <a:latin typeface="+mn-lt"/>
                          <a:ea typeface="+mn-ea"/>
                          <a:cs typeface="+mn-cs"/>
                        </a:rPr>
                        <a:t>approche d’accès par niveau </a:t>
                      </a:r>
                      <a:r>
                        <a:rPr lang="fr-FR" sz="1700" kern="1200" dirty="0">
                          <a:solidFill>
                            <a:srgbClr val="404040"/>
                          </a:solidFill>
                          <a:effectLst/>
                          <a:latin typeface="+mn-lt"/>
                          <a:ea typeface="+mn-ea"/>
                          <a:cs typeface="+mn-cs"/>
                        </a:rPr>
                        <a:t>répond de manière équitable aux besoins de transparence et de protection de la vie privée ainsi qu’aux besoins légitimes d’accès aux données. Dans cette approche, il peut être envisager : </a:t>
                      </a:r>
                    </a:p>
                    <a:p>
                      <a:pPr marL="0" algn="l" defTabSz="914400" rtl="0" eaLnBrk="1" latinLnBrk="0" hangingPunct="1"/>
                      <a:endParaRPr lang="fr-FR" sz="1700" kern="1200" dirty="0">
                        <a:solidFill>
                          <a:srgbClr val="404040"/>
                        </a:solidFill>
                        <a:effectLst/>
                        <a:latin typeface="+mn-lt"/>
                        <a:ea typeface="+mn-ea"/>
                        <a:cs typeface="+mn-cs"/>
                      </a:endParaRPr>
                    </a:p>
                    <a:p>
                      <a:pPr marL="285750" lvl="0" indent="-285750" algn="l" defTabSz="914400" rtl="0" eaLnBrk="1" fontAlgn="base" latinLnBrk="0" hangingPunct="1">
                        <a:buFont typeface="Arial" panose="020B0604020202020204" pitchFamily="34" charset="0"/>
                        <a:buChar char="•"/>
                      </a:pPr>
                      <a:r>
                        <a:rPr lang="fr-FR" sz="1700" kern="1200" dirty="0">
                          <a:solidFill>
                            <a:srgbClr val="404040"/>
                          </a:solidFill>
                          <a:effectLst/>
                          <a:latin typeface="+mn-lt"/>
                          <a:ea typeface="+mn-ea"/>
                          <a:cs typeface="+mn-cs"/>
                        </a:rPr>
                        <a:t>Octroi d’un droit d’accès à toutes les données aux organismes chargés de l’application de la loi incluant notamment : la Direction des Impôts, la Direction de la Douane, la Direction des marchés publics, l’ANIF, la Chambre des Comptes, la Direction des Mines et la Direction des Hydrocarbures et l’autorité judiciaire, </a:t>
                      </a:r>
                      <a:r>
                        <a:rPr lang="fr-FR" sz="1700" kern="1200" dirty="0" err="1">
                          <a:solidFill>
                            <a:srgbClr val="404040"/>
                          </a:solidFill>
                          <a:effectLst/>
                          <a:latin typeface="+mn-lt"/>
                          <a:ea typeface="+mn-ea"/>
                          <a:cs typeface="+mn-cs"/>
                        </a:rPr>
                        <a:t>etc</a:t>
                      </a:r>
                      <a:r>
                        <a:rPr lang="fr-FR" sz="1700" kern="1200" dirty="0">
                          <a:solidFill>
                            <a:srgbClr val="404040"/>
                          </a:solidFill>
                          <a:effectLst/>
                          <a:latin typeface="+mn-lt"/>
                          <a:ea typeface="+mn-ea"/>
                          <a:cs typeface="+mn-cs"/>
                        </a:rPr>
                        <a:t>  ; </a:t>
                      </a:r>
                    </a:p>
                    <a:p>
                      <a:pPr marL="285750" lvl="0" indent="-285750" algn="l" defTabSz="914400" rtl="0" eaLnBrk="1" fontAlgn="base" latinLnBrk="0" hangingPunct="1">
                        <a:buFont typeface="Arial" panose="020B0604020202020204" pitchFamily="34" charset="0"/>
                        <a:buChar char="•"/>
                      </a:pPr>
                      <a:r>
                        <a:rPr lang="fr-FR" sz="1700" kern="1200" dirty="0">
                          <a:solidFill>
                            <a:srgbClr val="404040"/>
                          </a:solidFill>
                          <a:effectLst/>
                          <a:latin typeface="+mn-lt"/>
                          <a:ea typeface="+mn-ea"/>
                          <a:cs typeface="+mn-cs"/>
                        </a:rPr>
                        <a:t>Octroi d’un accès élargi à certaines catégories d’utilisateurs comme les institutions financières, les entreprises et les professions non financières qui ont une obligation de vigilance relatives à la clientèle en vertu de la réglementation LCB/FT ; et </a:t>
                      </a:r>
                    </a:p>
                    <a:p>
                      <a:pPr marL="285750" lvl="0" indent="-285750" algn="l" defTabSz="914400" rtl="0" eaLnBrk="1" fontAlgn="base" latinLnBrk="0" hangingPunct="1">
                        <a:buFont typeface="Arial" panose="020B0604020202020204" pitchFamily="34" charset="0"/>
                        <a:buChar char="•"/>
                      </a:pPr>
                      <a:r>
                        <a:rPr lang="fr-FR" sz="1700" kern="1200" dirty="0">
                          <a:solidFill>
                            <a:srgbClr val="404040"/>
                          </a:solidFill>
                          <a:effectLst/>
                          <a:latin typeface="+mn-lt"/>
                          <a:ea typeface="+mn-ea"/>
                          <a:cs typeface="+mn-cs"/>
                        </a:rPr>
                        <a:t>Octroi d’un accès restreint au public excluant les données sensibles comme l’adresse résidentielle, le numéro de la carte d’identité nationale ou encore les données sur les mineurs. </a:t>
                      </a:r>
                    </a:p>
                  </a:txBody>
                  <a:tcPr>
                    <a:solidFill>
                      <a:srgbClr val="A4E7E1"/>
                    </a:solidFill>
                  </a:tcPr>
                </a:tc>
                <a:extLst>
                  <a:ext uri="{0D108BD9-81ED-4DB2-BD59-A6C34878D82A}">
                    <a16:rowId xmlns:a16="http://schemas.microsoft.com/office/drawing/2014/main" val="274250255"/>
                  </a:ext>
                </a:extLst>
              </a:tr>
            </a:tbl>
          </a:graphicData>
        </a:graphic>
      </p:graphicFrame>
    </p:spTree>
    <p:extLst>
      <p:ext uri="{BB962C8B-B14F-4D97-AF65-F5344CB8AC3E}">
        <p14:creationId xmlns:p14="http://schemas.microsoft.com/office/powerpoint/2010/main" val="20664679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Recommandations</a:t>
            </a:r>
            <a:br>
              <a:rPr lang="fr-FR" sz="3500" b="1" dirty="0">
                <a:solidFill>
                  <a:srgbClr val="61BC4D"/>
                </a:solidFill>
                <a:latin typeface="Kohinoor Devanagari" panose="02000000000000000000" pitchFamily="50" charset="0"/>
              </a:rPr>
            </a:b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25</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3" name="Tableau 3">
            <a:extLst>
              <a:ext uri="{FF2B5EF4-FFF2-40B4-BE49-F238E27FC236}">
                <a16:creationId xmlns:a16="http://schemas.microsoft.com/office/drawing/2014/main" id="{E1058F4D-EF9D-A419-D178-2ED0636829D9}"/>
              </a:ext>
            </a:extLst>
          </p:cNvPr>
          <p:cNvGraphicFramePr>
            <a:graphicFrameLocks noGrp="1"/>
          </p:cNvGraphicFramePr>
          <p:nvPr>
            <p:extLst>
              <p:ext uri="{D42A27DB-BD31-4B8C-83A1-F6EECF244321}">
                <p14:modId xmlns:p14="http://schemas.microsoft.com/office/powerpoint/2010/main" val="2458492731"/>
              </p:ext>
            </p:extLst>
          </p:nvPr>
        </p:nvGraphicFramePr>
        <p:xfrm>
          <a:off x="939567" y="1323821"/>
          <a:ext cx="10335873" cy="5080508"/>
        </p:xfrm>
        <a:graphic>
          <a:graphicData uri="http://schemas.openxmlformats.org/drawingml/2006/table">
            <a:tbl>
              <a:tblPr firstRow="1" bandRow="1">
                <a:tableStyleId>{7DF18680-E054-41AD-8BC1-D1AEF772440D}</a:tableStyleId>
              </a:tblPr>
              <a:tblGrid>
                <a:gridCol w="1963024">
                  <a:extLst>
                    <a:ext uri="{9D8B030D-6E8A-4147-A177-3AD203B41FA5}">
                      <a16:colId xmlns:a16="http://schemas.microsoft.com/office/drawing/2014/main" val="1057592566"/>
                    </a:ext>
                  </a:extLst>
                </a:gridCol>
                <a:gridCol w="8372849">
                  <a:extLst>
                    <a:ext uri="{9D8B030D-6E8A-4147-A177-3AD203B41FA5}">
                      <a16:colId xmlns:a16="http://schemas.microsoft.com/office/drawing/2014/main" val="1485353904"/>
                    </a:ext>
                  </a:extLst>
                </a:gridCol>
              </a:tblGrid>
              <a:tr h="344059">
                <a:tc>
                  <a:txBody>
                    <a:bodyPr/>
                    <a:lstStyle/>
                    <a:p>
                      <a:r>
                        <a:rPr lang="fr-FR" dirty="0">
                          <a:solidFill>
                            <a:schemeClr val="bg1"/>
                          </a:solidFill>
                        </a:rPr>
                        <a:t>Recommandation</a:t>
                      </a:r>
                    </a:p>
                  </a:txBody>
                  <a:tcPr>
                    <a:solidFill>
                      <a:srgbClr val="657C91"/>
                    </a:solidFill>
                  </a:tcPr>
                </a:tc>
                <a:tc>
                  <a:txBody>
                    <a:bodyPr/>
                    <a:lstStyle/>
                    <a:p>
                      <a:r>
                        <a:rPr lang="fr-FR" dirty="0">
                          <a:solidFill>
                            <a:schemeClr val="bg1"/>
                          </a:solidFill>
                        </a:rPr>
                        <a:t>Détail </a:t>
                      </a:r>
                    </a:p>
                  </a:txBody>
                  <a:tcPr>
                    <a:solidFill>
                      <a:srgbClr val="657C91"/>
                    </a:solidFill>
                  </a:tcPr>
                </a:tc>
                <a:extLst>
                  <a:ext uri="{0D108BD9-81ED-4DB2-BD59-A6C34878D82A}">
                    <a16:rowId xmlns:a16="http://schemas.microsoft.com/office/drawing/2014/main" val="2595839864"/>
                  </a:ext>
                </a:extLst>
              </a:tr>
              <a:tr h="1394644">
                <a:tc>
                  <a:txBody>
                    <a:bodyPr/>
                    <a:lstStyle/>
                    <a:p>
                      <a:pPr marL="0" algn="l" defTabSz="914400" rtl="0" eaLnBrk="1" latinLnBrk="0" hangingPunct="1"/>
                      <a:r>
                        <a:rPr lang="fr-FR" sz="1700" b="1" kern="1200" dirty="0">
                          <a:solidFill>
                            <a:srgbClr val="404040"/>
                          </a:solidFill>
                          <a:latin typeface="Kohinoor Devanagari" panose="02000000000000000000"/>
                          <a:ea typeface="+mn-ea"/>
                          <a:cs typeface="+mn-cs"/>
                        </a:rPr>
                        <a:t>Vérification des données</a:t>
                      </a:r>
                    </a:p>
                  </a:txBody>
                  <a:tcPr>
                    <a:lnB w="12700" cap="flat" cmpd="sng" algn="ctr">
                      <a:solidFill>
                        <a:srgbClr val="92D050"/>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Exigence des procédures d’assurance des données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Sensibilisation et renforcement des capacités des assujetties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Prévoir un mécanisme de confirmation et mise à jour périodiques des données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Traçabilité des changement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Prévoir des mesures de conservation des données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Mise en place de mécanismes d’</a:t>
                      </a:r>
                      <a:r>
                        <a:rPr lang="fr-FR" sz="1700" b="0" kern="1200" dirty="0" err="1">
                          <a:solidFill>
                            <a:srgbClr val="404040"/>
                          </a:solidFill>
                          <a:latin typeface="Kohinoor Devanagari" panose="02000000000000000000"/>
                          <a:ea typeface="+mn-ea"/>
                          <a:cs typeface="+mn-cs"/>
                        </a:rPr>
                        <a:t>identiﬁcation</a:t>
                      </a:r>
                      <a:r>
                        <a:rPr lang="fr-FR" sz="1700" b="0" kern="1200" dirty="0">
                          <a:solidFill>
                            <a:srgbClr val="404040"/>
                          </a:solidFill>
                          <a:latin typeface="Kohinoor Devanagari" panose="02000000000000000000"/>
                          <a:ea typeface="+mn-ea"/>
                          <a:cs typeface="+mn-cs"/>
                        </a:rPr>
                        <a:t> et de détection des alert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Se doter d’un manuel pour la vérification des données sur la propriété effectiv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Prévoir l’obligation de signaler les irrégularités dans le registr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Examen par le public</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Mise en place d’un registre sur les PP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Utilisation de la Technologi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1700" b="0" kern="1200" dirty="0">
                          <a:solidFill>
                            <a:srgbClr val="404040"/>
                          </a:solidFill>
                          <a:latin typeface="Kohinoor Devanagari" panose="02000000000000000000"/>
                          <a:ea typeface="+mn-ea"/>
                          <a:cs typeface="+mn-cs"/>
                        </a:rPr>
                        <a:t>Interconnexion du registre avec d’autres registres gouvernementaux</a:t>
                      </a:r>
                    </a:p>
                  </a:txBody>
                  <a:tcPr>
                    <a:lnB w="12700" cap="flat" cmpd="sng" algn="ctr">
                      <a:solidFill>
                        <a:srgbClr val="92D050"/>
                      </a:solidFill>
                      <a:prstDash val="solid"/>
                      <a:round/>
                      <a:headEnd type="none" w="med" len="med"/>
                      <a:tailEnd type="none" w="med" len="med"/>
                    </a:lnB>
                    <a:noFill/>
                  </a:tcPr>
                </a:tc>
                <a:extLst>
                  <a:ext uri="{0D108BD9-81ED-4DB2-BD59-A6C34878D82A}">
                    <a16:rowId xmlns:a16="http://schemas.microsoft.com/office/drawing/2014/main" val="274250255"/>
                  </a:ext>
                </a:extLst>
              </a:tr>
            </a:tbl>
          </a:graphicData>
        </a:graphic>
      </p:graphicFrame>
    </p:spTree>
    <p:extLst>
      <p:ext uri="{BB962C8B-B14F-4D97-AF65-F5344CB8AC3E}">
        <p14:creationId xmlns:p14="http://schemas.microsoft.com/office/powerpoint/2010/main" val="3395439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Recommandations</a:t>
            </a:r>
            <a:br>
              <a:rPr lang="fr-FR" sz="3500" b="1" dirty="0">
                <a:solidFill>
                  <a:srgbClr val="61BC4D"/>
                </a:solidFill>
                <a:latin typeface="Kohinoor Devanagari" panose="02000000000000000000" pitchFamily="50" charset="0"/>
              </a:rPr>
            </a:b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26</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cxnSp>
        <p:nvCxnSpPr>
          <p:cNvPr id="6" name="Connecteur droit avec flèche 5">
            <a:extLst>
              <a:ext uri="{FF2B5EF4-FFF2-40B4-BE49-F238E27FC236}">
                <a16:creationId xmlns:a16="http://schemas.microsoft.com/office/drawing/2014/main" id="{FC38D4F4-43C6-2E12-CA76-4A9961807125}"/>
              </a:ext>
            </a:extLst>
          </p:cNvPr>
          <p:cNvCxnSpPr>
            <a:cxnSpLocks/>
          </p:cNvCxnSpPr>
          <p:nvPr/>
        </p:nvCxnSpPr>
        <p:spPr>
          <a:xfrm flipV="1">
            <a:off x="11894007" y="2992162"/>
            <a:ext cx="1" cy="172800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eur droit avec flèche 7">
            <a:extLst>
              <a:ext uri="{FF2B5EF4-FFF2-40B4-BE49-F238E27FC236}">
                <a16:creationId xmlns:a16="http://schemas.microsoft.com/office/drawing/2014/main" id="{2E4CF699-C7A2-865F-F076-ACCF017E19BF}"/>
              </a:ext>
            </a:extLst>
          </p:cNvPr>
          <p:cNvCxnSpPr>
            <a:cxnSpLocks/>
          </p:cNvCxnSpPr>
          <p:nvPr/>
        </p:nvCxnSpPr>
        <p:spPr>
          <a:xfrm flipV="1">
            <a:off x="263344" y="6226304"/>
            <a:ext cx="3343604" cy="1"/>
          </a:xfrm>
          <a:prstGeom prst="straightConnector1">
            <a:avLst/>
          </a:prstGeom>
          <a:ln>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Connecteur droit avec flèche 8">
            <a:extLst>
              <a:ext uri="{FF2B5EF4-FFF2-40B4-BE49-F238E27FC236}">
                <a16:creationId xmlns:a16="http://schemas.microsoft.com/office/drawing/2014/main" id="{00DC3E6F-B67E-5D5F-F476-0669CC36D2C3}"/>
              </a:ext>
            </a:extLst>
          </p:cNvPr>
          <p:cNvCxnSpPr>
            <a:cxnSpLocks/>
          </p:cNvCxnSpPr>
          <p:nvPr/>
        </p:nvCxnSpPr>
        <p:spPr>
          <a:xfrm>
            <a:off x="3762034" y="6223710"/>
            <a:ext cx="2304000" cy="0"/>
          </a:xfrm>
          <a:prstGeom prst="straightConnector1">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Connecteur droit avec flèche 9">
            <a:extLst>
              <a:ext uri="{FF2B5EF4-FFF2-40B4-BE49-F238E27FC236}">
                <a16:creationId xmlns:a16="http://schemas.microsoft.com/office/drawing/2014/main" id="{F89FB6BD-A555-BD69-C37F-9D39F6667B08}"/>
              </a:ext>
            </a:extLst>
          </p:cNvPr>
          <p:cNvCxnSpPr>
            <a:cxnSpLocks/>
          </p:cNvCxnSpPr>
          <p:nvPr/>
        </p:nvCxnSpPr>
        <p:spPr>
          <a:xfrm>
            <a:off x="6189651" y="6223710"/>
            <a:ext cx="313200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FB05CD30-A7FC-2742-1D11-D4F98F5C10CD}"/>
              </a:ext>
            </a:extLst>
          </p:cNvPr>
          <p:cNvSpPr txBox="1"/>
          <p:nvPr/>
        </p:nvSpPr>
        <p:spPr>
          <a:xfrm>
            <a:off x="498415" y="6328773"/>
            <a:ext cx="2824480" cy="276999"/>
          </a:xfrm>
          <a:prstGeom prst="rect">
            <a:avLst/>
          </a:prstGeom>
          <a:noFill/>
          <a:ln>
            <a:noFill/>
          </a:ln>
        </p:spPr>
        <p:txBody>
          <a:bodyPr wrap="square" rtlCol="0">
            <a:spAutoFit/>
          </a:bodyPr>
          <a:lstStyle/>
          <a:p>
            <a:pPr algn="ctr"/>
            <a:r>
              <a:rPr lang="fr-FR" sz="1200" b="1" dirty="0">
                <a:solidFill>
                  <a:srgbClr val="00B0F0"/>
                </a:solidFill>
              </a:rPr>
              <a:t>Entrée des données </a:t>
            </a:r>
          </a:p>
        </p:txBody>
      </p:sp>
      <p:sp>
        <p:nvSpPr>
          <p:cNvPr id="12" name="ZoneTexte 11">
            <a:extLst>
              <a:ext uri="{FF2B5EF4-FFF2-40B4-BE49-F238E27FC236}">
                <a16:creationId xmlns:a16="http://schemas.microsoft.com/office/drawing/2014/main" id="{99FED4B7-7A5A-F171-E044-6BD0A88C42CC}"/>
              </a:ext>
            </a:extLst>
          </p:cNvPr>
          <p:cNvSpPr txBox="1"/>
          <p:nvPr/>
        </p:nvSpPr>
        <p:spPr>
          <a:xfrm>
            <a:off x="3486444" y="6333818"/>
            <a:ext cx="2819585" cy="276999"/>
          </a:xfrm>
          <a:prstGeom prst="rect">
            <a:avLst/>
          </a:prstGeom>
          <a:noFill/>
        </p:spPr>
        <p:txBody>
          <a:bodyPr wrap="square" rtlCol="0">
            <a:spAutoFit/>
          </a:bodyPr>
          <a:lstStyle/>
          <a:p>
            <a:pPr algn="ctr"/>
            <a:r>
              <a:rPr lang="fr-FR" sz="1200" b="1" dirty="0">
                <a:solidFill>
                  <a:schemeClr val="accent6"/>
                </a:solidFill>
              </a:rPr>
              <a:t>Collecte et recoupement des données</a:t>
            </a:r>
          </a:p>
        </p:txBody>
      </p:sp>
      <p:sp>
        <p:nvSpPr>
          <p:cNvPr id="13" name="ZoneTexte 12">
            <a:extLst>
              <a:ext uri="{FF2B5EF4-FFF2-40B4-BE49-F238E27FC236}">
                <a16:creationId xmlns:a16="http://schemas.microsoft.com/office/drawing/2014/main" id="{5F925A5C-EEB1-0A86-AA17-39D9D516EBE5}"/>
              </a:ext>
            </a:extLst>
          </p:cNvPr>
          <p:cNvSpPr txBox="1"/>
          <p:nvPr/>
        </p:nvSpPr>
        <p:spPr>
          <a:xfrm>
            <a:off x="6363872" y="6330635"/>
            <a:ext cx="2736000" cy="276999"/>
          </a:xfrm>
          <a:prstGeom prst="rect">
            <a:avLst/>
          </a:prstGeom>
          <a:noFill/>
        </p:spPr>
        <p:txBody>
          <a:bodyPr wrap="square" rtlCol="0">
            <a:spAutoFit/>
          </a:bodyPr>
          <a:lstStyle/>
          <a:p>
            <a:pPr algn="ctr"/>
            <a:r>
              <a:rPr lang="fr-FR" sz="1200" b="1" dirty="0">
                <a:solidFill>
                  <a:schemeClr val="accent1">
                    <a:lumMod val="75000"/>
                  </a:schemeClr>
                </a:solidFill>
              </a:rPr>
              <a:t>Partage des données</a:t>
            </a:r>
          </a:p>
        </p:txBody>
      </p:sp>
      <p:sp>
        <p:nvSpPr>
          <p:cNvPr id="14" name="ZoneTexte 13">
            <a:extLst>
              <a:ext uri="{FF2B5EF4-FFF2-40B4-BE49-F238E27FC236}">
                <a16:creationId xmlns:a16="http://schemas.microsoft.com/office/drawing/2014/main" id="{6FC1A827-5CF6-EB79-CC95-DC5E8ADD654E}"/>
              </a:ext>
            </a:extLst>
          </p:cNvPr>
          <p:cNvSpPr txBox="1"/>
          <p:nvPr/>
        </p:nvSpPr>
        <p:spPr>
          <a:xfrm>
            <a:off x="4017097" y="5782264"/>
            <a:ext cx="1519949" cy="246221"/>
          </a:xfrm>
          <a:prstGeom prst="rect">
            <a:avLst/>
          </a:prstGeom>
          <a:noFill/>
        </p:spPr>
        <p:txBody>
          <a:bodyPr wrap="square" rtlCol="0">
            <a:spAutoFit/>
          </a:bodyPr>
          <a:lstStyle/>
          <a:p>
            <a:pPr algn="ctr"/>
            <a:r>
              <a:rPr lang="fr-FR" sz="1000" b="1" dirty="0"/>
              <a:t>Registre des BE</a:t>
            </a:r>
          </a:p>
        </p:txBody>
      </p:sp>
      <p:sp>
        <p:nvSpPr>
          <p:cNvPr id="15" name="ZoneTexte 14">
            <a:extLst>
              <a:ext uri="{FF2B5EF4-FFF2-40B4-BE49-F238E27FC236}">
                <a16:creationId xmlns:a16="http://schemas.microsoft.com/office/drawing/2014/main" id="{B37F13A7-B99B-9A33-4A03-CCD91CC27B04}"/>
              </a:ext>
            </a:extLst>
          </p:cNvPr>
          <p:cNvSpPr txBox="1"/>
          <p:nvPr/>
        </p:nvSpPr>
        <p:spPr>
          <a:xfrm>
            <a:off x="1412885" y="2038749"/>
            <a:ext cx="1239615" cy="400110"/>
          </a:xfrm>
          <a:prstGeom prst="rect">
            <a:avLst/>
          </a:prstGeom>
          <a:noFill/>
        </p:spPr>
        <p:txBody>
          <a:bodyPr wrap="square" rtlCol="0">
            <a:spAutoFit/>
          </a:bodyPr>
          <a:lstStyle/>
          <a:p>
            <a:pPr algn="ctr"/>
            <a:r>
              <a:rPr lang="fr-FR" sz="1000" b="1" dirty="0"/>
              <a:t>Déclaration de patrimoine</a:t>
            </a:r>
          </a:p>
        </p:txBody>
      </p:sp>
      <p:pic>
        <p:nvPicPr>
          <p:cNvPr id="16" name="Picture 3">
            <a:extLst>
              <a:ext uri="{FF2B5EF4-FFF2-40B4-BE49-F238E27FC236}">
                <a16:creationId xmlns:a16="http://schemas.microsoft.com/office/drawing/2014/main" id="{4318B374-2E89-3444-123F-DE801960BCDB}"/>
              </a:ext>
            </a:extLst>
          </p:cNvPr>
          <p:cNvPicPr/>
          <p:nvPr/>
        </p:nvPicPr>
        <p:blipFill rotWithShape="1">
          <a:blip r:embed="rId2" cstate="print">
            <a:extLst>
              <a:ext uri="{28A0092B-C50C-407E-A947-70E740481C1C}">
                <a14:useLocalDpi xmlns:a14="http://schemas.microsoft.com/office/drawing/2010/main" val="0"/>
              </a:ext>
            </a:extLst>
          </a:blip>
          <a:srcRect l="46163" t="38002" r="45968" b="45062"/>
          <a:stretch/>
        </p:blipFill>
        <p:spPr bwMode="auto">
          <a:xfrm>
            <a:off x="4185050" y="5003394"/>
            <a:ext cx="1161315" cy="885192"/>
          </a:xfrm>
          <a:prstGeom prst="rect">
            <a:avLst/>
          </a:prstGeom>
          <a:noFill/>
        </p:spPr>
      </p:pic>
      <p:pic>
        <p:nvPicPr>
          <p:cNvPr id="17" name="Picture 3">
            <a:extLst>
              <a:ext uri="{FF2B5EF4-FFF2-40B4-BE49-F238E27FC236}">
                <a16:creationId xmlns:a16="http://schemas.microsoft.com/office/drawing/2014/main" id="{BEF7F690-B709-A199-D7E9-C81BA1763592}"/>
              </a:ext>
            </a:extLst>
          </p:cNvPr>
          <p:cNvPicPr/>
          <p:nvPr/>
        </p:nvPicPr>
        <p:blipFill rotWithShape="1">
          <a:blip r:embed="rId2" cstate="print">
            <a:extLst>
              <a:ext uri="{28A0092B-C50C-407E-A947-70E740481C1C}">
                <a14:useLocalDpi xmlns:a14="http://schemas.microsoft.com/office/drawing/2010/main" val="0"/>
              </a:ext>
            </a:extLst>
          </a:blip>
          <a:srcRect l="2833" t="24317" r="88202" b="57892"/>
          <a:stretch/>
        </p:blipFill>
        <p:spPr bwMode="auto">
          <a:xfrm>
            <a:off x="278445" y="4348771"/>
            <a:ext cx="945932" cy="1093076"/>
          </a:xfrm>
          <a:prstGeom prst="rect">
            <a:avLst/>
          </a:prstGeom>
          <a:noFill/>
        </p:spPr>
      </p:pic>
      <p:sp>
        <p:nvSpPr>
          <p:cNvPr id="18" name="ZoneTexte 17">
            <a:extLst>
              <a:ext uri="{FF2B5EF4-FFF2-40B4-BE49-F238E27FC236}">
                <a16:creationId xmlns:a16="http://schemas.microsoft.com/office/drawing/2014/main" id="{560C6FB2-5C95-C250-7F27-A17A77F97D5D}"/>
              </a:ext>
            </a:extLst>
          </p:cNvPr>
          <p:cNvSpPr txBox="1"/>
          <p:nvPr/>
        </p:nvSpPr>
        <p:spPr>
          <a:xfrm>
            <a:off x="269072" y="5298861"/>
            <a:ext cx="945928" cy="707886"/>
          </a:xfrm>
          <a:prstGeom prst="rect">
            <a:avLst/>
          </a:prstGeom>
          <a:noFill/>
        </p:spPr>
        <p:txBody>
          <a:bodyPr wrap="square">
            <a:spAutoFit/>
          </a:bodyPr>
          <a:lstStyle/>
          <a:p>
            <a:pPr algn="ctr"/>
            <a:r>
              <a:rPr lang="fr-FR" sz="1000" b="1" dirty="0"/>
              <a:t>Entreprises assujetties à la déclaration sur la PE </a:t>
            </a:r>
          </a:p>
        </p:txBody>
      </p:sp>
      <p:pic>
        <p:nvPicPr>
          <p:cNvPr id="19" name="Picture 3">
            <a:extLst>
              <a:ext uri="{FF2B5EF4-FFF2-40B4-BE49-F238E27FC236}">
                <a16:creationId xmlns:a16="http://schemas.microsoft.com/office/drawing/2014/main" id="{26E68031-385F-2E4C-3AAD-9FB02B615DD8}"/>
              </a:ext>
            </a:extLst>
          </p:cNvPr>
          <p:cNvPicPr/>
          <p:nvPr/>
        </p:nvPicPr>
        <p:blipFill rotWithShape="1">
          <a:blip r:embed="rId2" cstate="print">
            <a:extLst>
              <a:ext uri="{28A0092B-C50C-407E-A947-70E740481C1C}">
                <a14:useLocalDpi xmlns:a14="http://schemas.microsoft.com/office/drawing/2010/main" val="0"/>
              </a:ext>
            </a:extLst>
          </a:blip>
          <a:srcRect l="18372" t="41765" r="74357" b="47115"/>
          <a:stretch/>
        </p:blipFill>
        <p:spPr bwMode="auto">
          <a:xfrm>
            <a:off x="1552811" y="4701661"/>
            <a:ext cx="767255" cy="683173"/>
          </a:xfrm>
          <a:prstGeom prst="rect">
            <a:avLst/>
          </a:prstGeom>
          <a:noFill/>
        </p:spPr>
      </p:pic>
      <p:pic>
        <p:nvPicPr>
          <p:cNvPr id="25" name="Picture 3">
            <a:extLst>
              <a:ext uri="{FF2B5EF4-FFF2-40B4-BE49-F238E27FC236}">
                <a16:creationId xmlns:a16="http://schemas.microsoft.com/office/drawing/2014/main" id="{3F8C6165-85D2-8628-4232-9B15FE98F2EA}"/>
              </a:ext>
            </a:extLst>
          </p:cNvPr>
          <p:cNvPicPr/>
          <p:nvPr/>
        </p:nvPicPr>
        <p:blipFill rotWithShape="1">
          <a:blip r:embed="rId2" cstate="print">
            <a:extLst>
              <a:ext uri="{28A0092B-C50C-407E-A947-70E740481C1C}">
                <a14:useLocalDpi xmlns:a14="http://schemas.microsoft.com/office/drawing/2010/main" val="0"/>
              </a:ext>
            </a:extLst>
          </a:blip>
          <a:srcRect l="65388" t="3959" r="22958" b="77224"/>
          <a:stretch/>
        </p:blipFill>
        <p:spPr bwMode="auto">
          <a:xfrm>
            <a:off x="5468162" y="3216581"/>
            <a:ext cx="1030660" cy="935047"/>
          </a:xfrm>
          <a:prstGeom prst="rect">
            <a:avLst/>
          </a:prstGeom>
          <a:noFill/>
        </p:spPr>
      </p:pic>
      <p:pic>
        <p:nvPicPr>
          <p:cNvPr id="26" name="Picture 3">
            <a:extLst>
              <a:ext uri="{FF2B5EF4-FFF2-40B4-BE49-F238E27FC236}">
                <a16:creationId xmlns:a16="http://schemas.microsoft.com/office/drawing/2014/main" id="{50F58789-5EE8-A626-6D16-D99F14BC30F8}"/>
              </a:ext>
            </a:extLst>
          </p:cNvPr>
          <p:cNvPicPr/>
          <p:nvPr/>
        </p:nvPicPr>
        <p:blipFill rotWithShape="1">
          <a:blip r:embed="rId2" cstate="print">
            <a:extLst>
              <a:ext uri="{28A0092B-C50C-407E-A947-70E740481C1C}">
                <a14:useLocalDpi xmlns:a14="http://schemas.microsoft.com/office/drawing/2010/main" val="0"/>
              </a:ext>
            </a:extLst>
          </a:blip>
          <a:srcRect l="19269" t="12342" r="74754" b="74999"/>
          <a:stretch/>
        </p:blipFill>
        <p:spPr bwMode="auto">
          <a:xfrm>
            <a:off x="1635410" y="3193954"/>
            <a:ext cx="630620" cy="777766"/>
          </a:xfrm>
          <a:prstGeom prst="rect">
            <a:avLst/>
          </a:prstGeom>
          <a:noFill/>
        </p:spPr>
      </p:pic>
      <p:pic>
        <p:nvPicPr>
          <p:cNvPr id="27" name="Picture 3">
            <a:extLst>
              <a:ext uri="{FF2B5EF4-FFF2-40B4-BE49-F238E27FC236}">
                <a16:creationId xmlns:a16="http://schemas.microsoft.com/office/drawing/2014/main" id="{81CA8096-AAB9-8CDE-C5E1-29D44EE515AD}"/>
              </a:ext>
            </a:extLst>
          </p:cNvPr>
          <p:cNvPicPr/>
          <p:nvPr/>
        </p:nvPicPr>
        <p:blipFill rotWithShape="1">
          <a:blip r:embed="rId2" cstate="print">
            <a:extLst>
              <a:ext uri="{28A0092B-C50C-407E-A947-70E740481C1C}">
                <a14:useLocalDpi xmlns:a14="http://schemas.microsoft.com/office/drawing/2010/main" val="0"/>
              </a:ext>
            </a:extLst>
          </a:blip>
          <a:srcRect l="83768" t="32007" r="5705" b="56335"/>
          <a:stretch/>
        </p:blipFill>
        <p:spPr bwMode="auto">
          <a:xfrm>
            <a:off x="6533022" y="1986449"/>
            <a:ext cx="1124607" cy="725214"/>
          </a:xfrm>
          <a:prstGeom prst="rect">
            <a:avLst/>
          </a:prstGeom>
          <a:noFill/>
        </p:spPr>
      </p:pic>
      <p:pic>
        <p:nvPicPr>
          <p:cNvPr id="28" name="Picture 3">
            <a:extLst>
              <a:ext uri="{FF2B5EF4-FFF2-40B4-BE49-F238E27FC236}">
                <a16:creationId xmlns:a16="http://schemas.microsoft.com/office/drawing/2014/main" id="{9E3D2DD6-EB76-A6AB-61D2-BEE6FDC897F3}"/>
              </a:ext>
            </a:extLst>
          </p:cNvPr>
          <p:cNvPicPr/>
          <p:nvPr/>
        </p:nvPicPr>
        <p:blipFill rotWithShape="1">
          <a:blip r:embed="rId2" cstate="print">
            <a:extLst>
              <a:ext uri="{28A0092B-C50C-407E-A947-70E740481C1C}">
                <a14:useLocalDpi xmlns:a14="http://schemas.microsoft.com/office/drawing/2010/main" val="0"/>
              </a:ext>
            </a:extLst>
          </a:blip>
          <a:srcRect l="84712" t="54597" r="6124" b="33600"/>
          <a:stretch/>
        </p:blipFill>
        <p:spPr bwMode="auto">
          <a:xfrm>
            <a:off x="6767702" y="3743023"/>
            <a:ext cx="802396" cy="511173"/>
          </a:xfrm>
          <a:prstGeom prst="rect">
            <a:avLst/>
          </a:prstGeom>
          <a:noFill/>
        </p:spPr>
      </p:pic>
      <p:pic>
        <p:nvPicPr>
          <p:cNvPr id="29" name="Picture 3">
            <a:extLst>
              <a:ext uri="{FF2B5EF4-FFF2-40B4-BE49-F238E27FC236}">
                <a16:creationId xmlns:a16="http://schemas.microsoft.com/office/drawing/2014/main" id="{DB314DF9-400D-A69D-F56E-823E13A8FAD2}"/>
              </a:ext>
            </a:extLst>
          </p:cNvPr>
          <p:cNvPicPr/>
          <p:nvPr/>
        </p:nvPicPr>
        <p:blipFill rotWithShape="1">
          <a:blip r:embed="rId2" cstate="print">
            <a:extLst>
              <a:ext uri="{28A0092B-C50C-407E-A947-70E740481C1C}">
                <a14:useLocalDpi xmlns:a14="http://schemas.microsoft.com/office/drawing/2010/main" val="0"/>
              </a:ext>
            </a:extLst>
          </a:blip>
          <a:srcRect l="2833" t="24317" r="88202" b="57892"/>
          <a:stretch/>
        </p:blipFill>
        <p:spPr bwMode="auto">
          <a:xfrm>
            <a:off x="2886512" y="1357612"/>
            <a:ext cx="823153" cy="599512"/>
          </a:xfrm>
          <a:prstGeom prst="rect">
            <a:avLst/>
          </a:prstGeom>
          <a:noFill/>
        </p:spPr>
      </p:pic>
      <p:cxnSp>
        <p:nvCxnSpPr>
          <p:cNvPr id="30" name="Connecteur droit avec flèche 29">
            <a:extLst>
              <a:ext uri="{FF2B5EF4-FFF2-40B4-BE49-F238E27FC236}">
                <a16:creationId xmlns:a16="http://schemas.microsoft.com/office/drawing/2014/main" id="{6815949E-64D0-E3E0-D878-B5390734F1B3}"/>
              </a:ext>
            </a:extLst>
          </p:cNvPr>
          <p:cNvCxnSpPr>
            <a:cxnSpLocks/>
            <a:stCxn id="51" idx="3"/>
            <a:endCxn id="29" idx="1"/>
          </p:cNvCxnSpPr>
          <p:nvPr/>
        </p:nvCxnSpPr>
        <p:spPr>
          <a:xfrm flipV="1">
            <a:off x="2357343" y="1657368"/>
            <a:ext cx="529169" cy="3267"/>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1" name="ZoneTexte 30">
            <a:extLst>
              <a:ext uri="{FF2B5EF4-FFF2-40B4-BE49-F238E27FC236}">
                <a16:creationId xmlns:a16="http://schemas.microsoft.com/office/drawing/2014/main" id="{0386A542-792B-501C-BE80-44A0B945A1E9}"/>
              </a:ext>
            </a:extLst>
          </p:cNvPr>
          <p:cNvSpPr txBox="1"/>
          <p:nvPr/>
        </p:nvSpPr>
        <p:spPr>
          <a:xfrm>
            <a:off x="6639394" y="2618332"/>
            <a:ext cx="1331793" cy="400110"/>
          </a:xfrm>
          <a:prstGeom prst="rect">
            <a:avLst/>
          </a:prstGeom>
          <a:noFill/>
        </p:spPr>
        <p:txBody>
          <a:bodyPr wrap="square">
            <a:spAutoFit/>
          </a:bodyPr>
          <a:lstStyle/>
          <a:p>
            <a:r>
              <a:rPr lang="fr-FR" sz="1000" b="1" dirty="0"/>
              <a:t>Système/registres gouvernementaux</a:t>
            </a:r>
          </a:p>
        </p:txBody>
      </p:sp>
      <p:cxnSp>
        <p:nvCxnSpPr>
          <p:cNvPr id="32" name="Connecteur droit avec flèche 31">
            <a:extLst>
              <a:ext uri="{FF2B5EF4-FFF2-40B4-BE49-F238E27FC236}">
                <a16:creationId xmlns:a16="http://schemas.microsoft.com/office/drawing/2014/main" id="{093000D3-42EB-43A6-8F69-0A2B67968BD6}"/>
              </a:ext>
            </a:extLst>
          </p:cNvPr>
          <p:cNvCxnSpPr>
            <a:cxnSpLocks/>
          </p:cNvCxnSpPr>
          <p:nvPr/>
        </p:nvCxnSpPr>
        <p:spPr>
          <a:xfrm>
            <a:off x="1127353" y="1673796"/>
            <a:ext cx="510529" cy="63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56325D07-56DC-590F-23B1-17D7C324D786}"/>
              </a:ext>
            </a:extLst>
          </p:cNvPr>
          <p:cNvSpPr txBox="1"/>
          <p:nvPr/>
        </p:nvSpPr>
        <p:spPr>
          <a:xfrm>
            <a:off x="5498843" y="4032006"/>
            <a:ext cx="921641" cy="400110"/>
          </a:xfrm>
          <a:prstGeom prst="rect">
            <a:avLst/>
          </a:prstGeom>
          <a:noFill/>
        </p:spPr>
        <p:txBody>
          <a:bodyPr wrap="square" rtlCol="0">
            <a:spAutoFit/>
          </a:bodyPr>
          <a:lstStyle/>
          <a:p>
            <a:pPr algn="ctr"/>
            <a:r>
              <a:rPr lang="fr-FR" sz="1000" b="1" dirty="0"/>
              <a:t>Données standardisées</a:t>
            </a:r>
          </a:p>
        </p:txBody>
      </p:sp>
      <p:sp>
        <p:nvSpPr>
          <p:cNvPr id="34" name="ZoneTexte 33">
            <a:extLst>
              <a:ext uri="{FF2B5EF4-FFF2-40B4-BE49-F238E27FC236}">
                <a16:creationId xmlns:a16="http://schemas.microsoft.com/office/drawing/2014/main" id="{A659906B-B5D0-D117-622A-52F4DDEBD6AC}"/>
              </a:ext>
            </a:extLst>
          </p:cNvPr>
          <p:cNvSpPr txBox="1"/>
          <p:nvPr/>
        </p:nvSpPr>
        <p:spPr>
          <a:xfrm>
            <a:off x="6516115" y="4174619"/>
            <a:ext cx="1331793" cy="246221"/>
          </a:xfrm>
          <a:prstGeom prst="rect">
            <a:avLst/>
          </a:prstGeom>
          <a:noFill/>
        </p:spPr>
        <p:txBody>
          <a:bodyPr wrap="square">
            <a:spAutoFit/>
          </a:bodyPr>
          <a:lstStyle/>
          <a:p>
            <a:pPr algn="ctr"/>
            <a:r>
              <a:rPr lang="fr-FR" sz="1000" b="1" dirty="0"/>
              <a:t>Portail de données</a:t>
            </a:r>
          </a:p>
        </p:txBody>
      </p:sp>
      <p:cxnSp>
        <p:nvCxnSpPr>
          <p:cNvPr id="35" name="Connecteur droit avec flèche 34">
            <a:extLst>
              <a:ext uri="{FF2B5EF4-FFF2-40B4-BE49-F238E27FC236}">
                <a16:creationId xmlns:a16="http://schemas.microsoft.com/office/drawing/2014/main" id="{4F2ACC56-6E6D-DDEF-F350-9AA4641694B3}"/>
              </a:ext>
            </a:extLst>
          </p:cNvPr>
          <p:cNvCxnSpPr>
            <a:cxnSpLocks/>
          </p:cNvCxnSpPr>
          <p:nvPr/>
        </p:nvCxnSpPr>
        <p:spPr>
          <a:xfrm flipV="1">
            <a:off x="6052891" y="2488935"/>
            <a:ext cx="670207" cy="765475"/>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6" name="Picture 3">
            <a:extLst>
              <a:ext uri="{FF2B5EF4-FFF2-40B4-BE49-F238E27FC236}">
                <a16:creationId xmlns:a16="http://schemas.microsoft.com/office/drawing/2014/main" id="{1FB492A0-8084-195F-CBA4-1DCEC20FB3EC}"/>
              </a:ext>
            </a:extLst>
          </p:cNvPr>
          <p:cNvPicPr/>
          <p:nvPr/>
        </p:nvPicPr>
        <p:blipFill rotWithShape="1">
          <a:blip r:embed="rId2" cstate="print">
            <a:extLst>
              <a:ext uri="{28A0092B-C50C-407E-A947-70E740481C1C}">
                <a14:useLocalDpi xmlns:a14="http://schemas.microsoft.com/office/drawing/2010/main" val="0"/>
              </a:ext>
            </a:extLst>
          </a:blip>
          <a:srcRect l="85110" t="8408" r="7020" b="79104"/>
          <a:stretch/>
        </p:blipFill>
        <p:spPr bwMode="auto">
          <a:xfrm>
            <a:off x="6358056" y="615882"/>
            <a:ext cx="830317" cy="767255"/>
          </a:xfrm>
          <a:prstGeom prst="rect">
            <a:avLst/>
          </a:prstGeom>
          <a:noFill/>
        </p:spPr>
      </p:pic>
      <p:sp>
        <p:nvSpPr>
          <p:cNvPr id="37" name="ZoneTexte 36">
            <a:extLst>
              <a:ext uri="{FF2B5EF4-FFF2-40B4-BE49-F238E27FC236}">
                <a16:creationId xmlns:a16="http://schemas.microsoft.com/office/drawing/2014/main" id="{EE2589D7-93DA-9A8A-4AC5-522FF1AF3E64}"/>
              </a:ext>
            </a:extLst>
          </p:cNvPr>
          <p:cNvSpPr txBox="1"/>
          <p:nvPr/>
        </p:nvSpPr>
        <p:spPr>
          <a:xfrm>
            <a:off x="6167749" y="1241209"/>
            <a:ext cx="1404000" cy="400110"/>
          </a:xfrm>
          <a:prstGeom prst="rect">
            <a:avLst/>
          </a:prstGeom>
          <a:noFill/>
        </p:spPr>
        <p:txBody>
          <a:bodyPr wrap="square">
            <a:spAutoFit/>
          </a:bodyPr>
          <a:lstStyle/>
          <a:p>
            <a:pPr algn="ctr"/>
            <a:r>
              <a:rPr lang="fr-FR" sz="1000" b="1" dirty="0"/>
              <a:t>Registres des pays tiers </a:t>
            </a:r>
          </a:p>
        </p:txBody>
      </p:sp>
      <p:sp>
        <p:nvSpPr>
          <p:cNvPr id="38" name="Rectangle : coins arrondis 37">
            <a:extLst>
              <a:ext uri="{FF2B5EF4-FFF2-40B4-BE49-F238E27FC236}">
                <a16:creationId xmlns:a16="http://schemas.microsoft.com/office/drawing/2014/main" id="{8F5D9768-36CD-D465-D883-D5707ACF4187}"/>
              </a:ext>
            </a:extLst>
          </p:cNvPr>
          <p:cNvSpPr/>
          <p:nvPr/>
        </p:nvSpPr>
        <p:spPr>
          <a:xfrm>
            <a:off x="6595094" y="3732447"/>
            <a:ext cx="1161315" cy="1880252"/>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noFill/>
            </a:endParaRPr>
          </a:p>
        </p:txBody>
      </p:sp>
      <p:pic>
        <p:nvPicPr>
          <p:cNvPr id="39" name="Picture 3">
            <a:extLst>
              <a:ext uri="{FF2B5EF4-FFF2-40B4-BE49-F238E27FC236}">
                <a16:creationId xmlns:a16="http://schemas.microsoft.com/office/drawing/2014/main" id="{0770C62B-9FCD-31C8-9122-BA0B949ED03F}"/>
              </a:ext>
            </a:extLst>
          </p:cNvPr>
          <p:cNvPicPr/>
          <p:nvPr/>
        </p:nvPicPr>
        <p:blipFill rotWithShape="1">
          <a:blip r:embed="rId2" cstate="print">
            <a:extLst>
              <a:ext uri="{28A0092B-C50C-407E-A947-70E740481C1C}">
                <a14:useLocalDpi xmlns:a14="http://schemas.microsoft.com/office/drawing/2010/main" val="0"/>
              </a:ext>
            </a:extLst>
          </a:blip>
          <a:srcRect l="46163" t="38002" r="45968" b="45062"/>
          <a:stretch/>
        </p:blipFill>
        <p:spPr bwMode="auto">
          <a:xfrm>
            <a:off x="4172870" y="3291106"/>
            <a:ext cx="1208405" cy="885192"/>
          </a:xfrm>
          <a:prstGeom prst="rect">
            <a:avLst/>
          </a:prstGeom>
          <a:noFill/>
        </p:spPr>
      </p:pic>
      <p:pic>
        <p:nvPicPr>
          <p:cNvPr id="40" name="Picture 3">
            <a:extLst>
              <a:ext uri="{FF2B5EF4-FFF2-40B4-BE49-F238E27FC236}">
                <a16:creationId xmlns:a16="http://schemas.microsoft.com/office/drawing/2014/main" id="{5F5C0FE8-20FD-E986-8902-506D07B65DAE}"/>
              </a:ext>
            </a:extLst>
          </p:cNvPr>
          <p:cNvPicPr/>
          <p:nvPr/>
        </p:nvPicPr>
        <p:blipFill rotWithShape="1">
          <a:blip r:embed="rId2" cstate="print">
            <a:extLst>
              <a:ext uri="{28A0092B-C50C-407E-A947-70E740481C1C}">
                <a14:useLocalDpi xmlns:a14="http://schemas.microsoft.com/office/drawing/2010/main" val="0"/>
              </a:ext>
            </a:extLst>
          </a:blip>
          <a:srcRect l="46163" t="38002" r="45968" b="45062"/>
          <a:stretch/>
        </p:blipFill>
        <p:spPr bwMode="auto">
          <a:xfrm>
            <a:off x="4241712" y="1338523"/>
            <a:ext cx="1024647" cy="885192"/>
          </a:xfrm>
          <a:prstGeom prst="rect">
            <a:avLst/>
          </a:prstGeom>
          <a:noFill/>
        </p:spPr>
      </p:pic>
      <p:sp>
        <p:nvSpPr>
          <p:cNvPr id="41" name="ZoneTexte 40">
            <a:extLst>
              <a:ext uri="{FF2B5EF4-FFF2-40B4-BE49-F238E27FC236}">
                <a16:creationId xmlns:a16="http://schemas.microsoft.com/office/drawing/2014/main" id="{8892DA8B-61D4-1D2E-155A-8449DFDF24A0}"/>
              </a:ext>
            </a:extLst>
          </p:cNvPr>
          <p:cNvSpPr txBox="1"/>
          <p:nvPr/>
        </p:nvSpPr>
        <p:spPr>
          <a:xfrm>
            <a:off x="3956196" y="4062085"/>
            <a:ext cx="1500027" cy="246221"/>
          </a:xfrm>
          <a:prstGeom prst="rect">
            <a:avLst/>
          </a:prstGeom>
          <a:noFill/>
        </p:spPr>
        <p:txBody>
          <a:bodyPr wrap="square" rtlCol="0">
            <a:spAutoFit/>
          </a:bodyPr>
          <a:lstStyle/>
          <a:p>
            <a:pPr algn="ctr"/>
            <a:r>
              <a:rPr lang="fr-FR" sz="1000" b="1" dirty="0"/>
              <a:t>RCCM/registre central </a:t>
            </a:r>
          </a:p>
        </p:txBody>
      </p:sp>
      <p:sp>
        <p:nvSpPr>
          <p:cNvPr id="42" name="ZoneTexte 41">
            <a:extLst>
              <a:ext uri="{FF2B5EF4-FFF2-40B4-BE49-F238E27FC236}">
                <a16:creationId xmlns:a16="http://schemas.microsoft.com/office/drawing/2014/main" id="{675A8A10-3F37-23EC-49BA-797F1A02D8FF}"/>
              </a:ext>
            </a:extLst>
          </p:cNvPr>
          <p:cNvSpPr txBox="1"/>
          <p:nvPr/>
        </p:nvSpPr>
        <p:spPr>
          <a:xfrm>
            <a:off x="3994149" y="2123996"/>
            <a:ext cx="1500027" cy="246221"/>
          </a:xfrm>
          <a:prstGeom prst="rect">
            <a:avLst/>
          </a:prstGeom>
          <a:noFill/>
        </p:spPr>
        <p:txBody>
          <a:bodyPr wrap="square" rtlCol="0">
            <a:spAutoFit/>
          </a:bodyPr>
          <a:lstStyle/>
          <a:p>
            <a:pPr algn="ctr"/>
            <a:r>
              <a:rPr lang="fr-FR" sz="1000" b="1" dirty="0"/>
              <a:t>Registre des PPE</a:t>
            </a:r>
          </a:p>
        </p:txBody>
      </p:sp>
      <p:cxnSp>
        <p:nvCxnSpPr>
          <p:cNvPr id="43" name="Connecteur droit avec flèche 42">
            <a:extLst>
              <a:ext uri="{FF2B5EF4-FFF2-40B4-BE49-F238E27FC236}">
                <a16:creationId xmlns:a16="http://schemas.microsoft.com/office/drawing/2014/main" id="{D2BD25CF-C86D-B954-EFCA-8484153B1FF5}"/>
              </a:ext>
            </a:extLst>
          </p:cNvPr>
          <p:cNvCxnSpPr>
            <a:cxnSpLocks/>
          </p:cNvCxnSpPr>
          <p:nvPr/>
        </p:nvCxnSpPr>
        <p:spPr>
          <a:xfrm>
            <a:off x="4570434" y="4443921"/>
            <a:ext cx="0" cy="61200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eur droit avec flèche 43">
            <a:extLst>
              <a:ext uri="{FF2B5EF4-FFF2-40B4-BE49-F238E27FC236}">
                <a16:creationId xmlns:a16="http://schemas.microsoft.com/office/drawing/2014/main" id="{A223A555-9CAF-638D-B4ED-E06513C6C17A}"/>
              </a:ext>
            </a:extLst>
          </p:cNvPr>
          <p:cNvCxnSpPr>
            <a:cxnSpLocks/>
          </p:cNvCxnSpPr>
          <p:nvPr/>
        </p:nvCxnSpPr>
        <p:spPr>
          <a:xfrm flipV="1">
            <a:off x="4884341" y="4409152"/>
            <a:ext cx="0" cy="61200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eur : en angle 44">
            <a:extLst>
              <a:ext uri="{FF2B5EF4-FFF2-40B4-BE49-F238E27FC236}">
                <a16:creationId xmlns:a16="http://schemas.microsoft.com/office/drawing/2014/main" id="{BAB4F816-17E0-29A2-F70F-78E2EB5B89BF}"/>
              </a:ext>
            </a:extLst>
          </p:cNvPr>
          <p:cNvCxnSpPr>
            <a:cxnSpLocks/>
          </p:cNvCxnSpPr>
          <p:nvPr/>
        </p:nvCxnSpPr>
        <p:spPr>
          <a:xfrm rot="10800000" flipH="1" flipV="1">
            <a:off x="4069973" y="1776264"/>
            <a:ext cx="175314" cy="3518998"/>
          </a:xfrm>
          <a:prstGeom prst="bentConnector4">
            <a:avLst>
              <a:gd name="adj1" fmla="val -130395"/>
              <a:gd name="adj2" fmla="val 99308"/>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eur : en angle 45">
            <a:extLst>
              <a:ext uri="{FF2B5EF4-FFF2-40B4-BE49-F238E27FC236}">
                <a16:creationId xmlns:a16="http://schemas.microsoft.com/office/drawing/2014/main" id="{2DACE3E4-5896-36F1-C05D-EDC93788015C}"/>
              </a:ext>
            </a:extLst>
          </p:cNvPr>
          <p:cNvCxnSpPr>
            <a:cxnSpLocks/>
          </p:cNvCxnSpPr>
          <p:nvPr/>
        </p:nvCxnSpPr>
        <p:spPr>
          <a:xfrm flipH="1" flipV="1">
            <a:off x="5084729" y="1799068"/>
            <a:ext cx="251466" cy="3527862"/>
          </a:xfrm>
          <a:prstGeom prst="bentConnector4">
            <a:avLst>
              <a:gd name="adj1" fmla="val -90907"/>
              <a:gd name="adj2" fmla="val 9976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7" name="ZoneTexte 46">
            <a:extLst>
              <a:ext uri="{FF2B5EF4-FFF2-40B4-BE49-F238E27FC236}">
                <a16:creationId xmlns:a16="http://schemas.microsoft.com/office/drawing/2014/main" id="{AC81D8BA-61FC-A02B-4D22-4D14EFA7373B}"/>
              </a:ext>
            </a:extLst>
          </p:cNvPr>
          <p:cNvSpPr txBox="1"/>
          <p:nvPr/>
        </p:nvSpPr>
        <p:spPr>
          <a:xfrm>
            <a:off x="2654144" y="1956545"/>
            <a:ext cx="1414183" cy="246221"/>
          </a:xfrm>
          <a:prstGeom prst="rect">
            <a:avLst/>
          </a:prstGeom>
          <a:noFill/>
        </p:spPr>
        <p:txBody>
          <a:bodyPr wrap="square">
            <a:spAutoFit/>
          </a:bodyPr>
          <a:lstStyle/>
          <a:p>
            <a:pPr algn="ctr"/>
            <a:r>
              <a:rPr lang="fr-FR" sz="1000" b="1" dirty="0"/>
              <a:t>CDBA</a:t>
            </a:r>
          </a:p>
        </p:txBody>
      </p:sp>
      <p:pic>
        <p:nvPicPr>
          <p:cNvPr id="48" name="Picture 3">
            <a:extLst>
              <a:ext uri="{FF2B5EF4-FFF2-40B4-BE49-F238E27FC236}">
                <a16:creationId xmlns:a16="http://schemas.microsoft.com/office/drawing/2014/main" id="{07488AC1-B957-5D0F-E2F7-FD53FFA89CAE}"/>
              </a:ext>
            </a:extLst>
          </p:cNvPr>
          <p:cNvPicPr/>
          <p:nvPr/>
        </p:nvPicPr>
        <p:blipFill rotWithShape="1">
          <a:blip r:embed="rId2" cstate="print">
            <a:extLst>
              <a:ext uri="{28A0092B-C50C-407E-A947-70E740481C1C}">
                <a14:useLocalDpi xmlns:a14="http://schemas.microsoft.com/office/drawing/2010/main" val="0"/>
              </a:ext>
            </a:extLst>
          </a:blip>
          <a:srcRect l="4264" t="52657" r="88900" b="37421"/>
          <a:stretch/>
        </p:blipFill>
        <p:spPr bwMode="auto">
          <a:xfrm>
            <a:off x="395195" y="1376855"/>
            <a:ext cx="721360" cy="609600"/>
          </a:xfrm>
          <a:prstGeom prst="rect">
            <a:avLst/>
          </a:prstGeom>
          <a:noFill/>
        </p:spPr>
      </p:pic>
      <p:sp>
        <p:nvSpPr>
          <p:cNvPr id="49" name="ZoneTexte 48">
            <a:extLst>
              <a:ext uri="{FF2B5EF4-FFF2-40B4-BE49-F238E27FC236}">
                <a16:creationId xmlns:a16="http://schemas.microsoft.com/office/drawing/2014/main" id="{230F6117-40BD-0BA0-94B9-04614A8D0ACB}"/>
              </a:ext>
            </a:extLst>
          </p:cNvPr>
          <p:cNvSpPr txBox="1"/>
          <p:nvPr/>
        </p:nvSpPr>
        <p:spPr>
          <a:xfrm>
            <a:off x="110680" y="1907709"/>
            <a:ext cx="1239615" cy="246221"/>
          </a:xfrm>
          <a:prstGeom prst="rect">
            <a:avLst/>
          </a:prstGeom>
          <a:noFill/>
        </p:spPr>
        <p:txBody>
          <a:bodyPr wrap="square" rtlCol="0">
            <a:spAutoFit/>
          </a:bodyPr>
          <a:lstStyle/>
          <a:p>
            <a:pPr algn="ctr"/>
            <a:r>
              <a:rPr lang="fr-FR" sz="1000" b="1" dirty="0"/>
              <a:t>PPE</a:t>
            </a:r>
          </a:p>
        </p:txBody>
      </p:sp>
      <p:cxnSp>
        <p:nvCxnSpPr>
          <p:cNvPr id="50" name="Connecteur droit avec flèche 49">
            <a:extLst>
              <a:ext uri="{FF2B5EF4-FFF2-40B4-BE49-F238E27FC236}">
                <a16:creationId xmlns:a16="http://schemas.microsoft.com/office/drawing/2014/main" id="{9467D860-61B5-5A97-0C18-6FE7D1319B42}"/>
              </a:ext>
            </a:extLst>
          </p:cNvPr>
          <p:cNvCxnSpPr>
            <a:cxnSpLocks/>
            <a:endCxn id="38" idx="1"/>
          </p:cNvCxnSpPr>
          <p:nvPr/>
        </p:nvCxnSpPr>
        <p:spPr>
          <a:xfrm>
            <a:off x="6170377" y="4067895"/>
            <a:ext cx="424717" cy="60467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51" name="Picture 3">
            <a:extLst>
              <a:ext uri="{FF2B5EF4-FFF2-40B4-BE49-F238E27FC236}">
                <a16:creationId xmlns:a16="http://schemas.microsoft.com/office/drawing/2014/main" id="{9D735177-15B6-65E5-254C-9732B16FE036}"/>
              </a:ext>
            </a:extLst>
          </p:cNvPr>
          <p:cNvPicPr/>
          <p:nvPr/>
        </p:nvPicPr>
        <p:blipFill rotWithShape="1">
          <a:blip r:embed="rId2" cstate="print">
            <a:extLst>
              <a:ext uri="{28A0092B-C50C-407E-A947-70E740481C1C}">
                <a14:useLocalDpi xmlns:a14="http://schemas.microsoft.com/office/drawing/2010/main" val="0"/>
              </a:ext>
            </a:extLst>
          </a:blip>
          <a:srcRect l="18372" t="41765" r="74357" b="47115"/>
          <a:stretch/>
        </p:blipFill>
        <p:spPr bwMode="auto">
          <a:xfrm>
            <a:off x="1590088" y="1319048"/>
            <a:ext cx="767255" cy="683173"/>
          </a:xfrm>
          <a:prstGeom prst="rect">
            <a:avLst/>
          </a:prstGeom>
          <a:noFill/>
        </p:spPr>
      </p:pic>
      <p:sp>
        <p:nvSpPr>
          <p:cNvPr id="52" name="ZoneTexte 51">
            <a:extLst>
              <a:ext uri="{FF2B5EF4-FFF2-40B4-BE49-F238E27FC236}">
                <a16:creationId xmlns:a16="http://schemas.microsoft.com/office/drawing/2014/main" id="{1D5922C5-248A-0696-81D4-9296EB6FE138}"/>
              </a:ext>
            </a:extLst>
          </p:cNvPr>
          <p:cNvSpPr txBox="1"/>
          <p:nvPr/>
        </p:nvSpPr>
        <p:spPr>
          <a:xfrm>
            <a:off x="1503675" y="5327495"/>
            <a:ext cx="924973" cy="400110"/>
          </a:xfrm>
          <a:prstGeom prst="rect">
            <a:avLst/>
          </a:prstGeom>
          <a:noFill/>
        </p:spPr>
        <p:txBody>
          <a:bodyPr wrap="square" rtlCol="0">
            <a:spAutoFit/>
          </a:bodyPr>
          <a:lstStyle/>
          <a:p>
            <a:pPr algn="ctr"/>
            <a:r>
              <a:rPr lang="fr-FR" sz="1000" b="1" dirty="0"/>
              <a:t>Déclaration des PE</a:t>
            </a:r>
          </a:p>
        </p:txBody>
      </p:sp>
      <p:cxnSp>
        <p:nvCxnSpPr>
          <p:cNvPr id="53" name="Connecteur droit avec flèche 52">
            <a:extLst>
              <a:ext uri="{FF2B5EF4-FFF2-40B4-BE49-F238E27FC236}">
                <a16:creationId xmlns:a16="http://schemas.microsoft.com/office/drawing/2014/main" id="{2E982571-C373-C4EA-F9D9-3AE24FC9FC9B}"/>
              </a:ext>
            </a:extLst>
          </p:cNvPr>
          <p:cNvCxnSpPr>
            <a:cxnSpLocks/>
          </p:cNvCxnSpPr>
          <p:nvPr/>
        </p:nvCxnSpPr>
        <p:spPr>
          <a:xfrm>
            <a:off x="1160973" y="5427370"/>
            <a:ext cx="432000" cy="63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3">
            <a:extLst>
              <a:ext uri="{FF2B5EF4-FFF2-40B4-BE49-F238E27FC236}">
                <a16:creationId xmlns:a16="http://schemas.microsoft.com/office/drawing/2014/main" id="{D2B950D0-375D-B941-B862-3B8E63FC391F}"/>
              </a:ext>
            </a:extLst>
          </p:cNvPr>
          <p:cNvPicPr/>
          <p:nvPr/>
        </p:nvPicPr>
        <p:blipFill rotWithShape="1">
          <a:blip r:embed="rId2" cstate="print">
            <a:extLst>
              <a:ext uri="{28A0092B-C50C-407E-A947-70E740481C1C}">
                <a14:useLocalDpi xmlns:a14="http://schemas.microsoft.com/office/drawing/2010/main" val="0"/>
              </a:ext>
            </a:extLst>
          </a:blip>
          <a:srcRect l="2833" t="24317" r="88202" b="57892"/>
          <a:stretch/>
        </p:blipFill>
        <p:spPr bwMode="auto">
          <a:xfrm>
            <a:off x="2873016" y="4781274"/>
            <a:ext cx="823153" cy="599512"/>
          </a:xfrm>
          <a:prstGeom prst="rect">
            <a:avLst/>
          </a:prstGeom>
          <a:noFill/>
        </p:spPr>
      </p:pic>
      <p:sp>
        <p:nvSpPr>
          <p:cNvPr id="55" name="ZoneTexte 54">
            <a:extLst>
              <a:ext uri="{FF2B5EF4-FFF2-40B4-BE49-F238E27FC236}">
                <a16:creationId xmlns:a16="http://schemas.microsoft.com/office/drawing/2014/main" id="{34CEF8E3-5C2D-7CCB-C589-23971787CE30}"/>
              </a:ext>
            </a:extLst>
          </p:cNvPr>
          <p:cNvSpPr txBox="1"/>
          <p:nvPr/>
        </p:nvSpPr>
        <p:spPr>
          <a:xfrm>
            <a:off x="2819357" y="5326930"/>
            <a:ext cx="940353" cy="553998"/>
          </a:xfrm>
          <a:prstGeom prst="rect">
            <a:avLst/>
          </a:prstGeom>
          <a:noFill/>
        </p:spPr>
        <p:txBody>
          <a:bodyPr wrap="square">
            <a:spAutoFit/>
          </a:bodyPr>
          <a:lstStyle/>
          <a:p>
            <a:pPr algn="ctr"/>
            <a:r>
              <a:rPr lang="fr-FR" sz="1000" b="1" dirty="0"/>
              <a:t>Structure en charge de collecte</a:t>
            </a:r>
          </a:p>
        </p:txBody>
      </p:sp>
      <p:cxnSp>
        <p:nvCxnSpPr>
          <p:cNvPr id="56" name="Connecteur : en arc 55">
            <a:extLst>
              <a:ext uri="{FF2B5EF4-FFF2-40B4-BE49-F238E27FC236}">
                <a16:creationId xmlns:a16="http://schemas.microsoft.com/office/drawing/2014/main" id="{4005C6EC-25D3-E0B7-C836-84BA15D0094E}"/>
              </a:ext>
            </a:extLst>
          </p:cNvPr>
          <p:cNvCxnSpPr>
            <a:cxnSpLocks/>
          </p:cNvCxnSpPr>
          <p:nvPr/>
        </p:nvCxnSpPr>
        <p:spPr>
          <a:xfrm rot="5400000" flipH="1" flipV="1">
            <a:off x="5019170" y="1877205"/>
            <a:ext cx="2222650" cy="545166"/>
          </a:xfrm>
          <a:prstGeom prst="curvedConnector3">
            <a:avLst>
              <a:gd name="adj1" fmla="val 100125"/>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Connecteur droit avec flèche 56">
            <a:extLst>
              <a:ext uri="{FF2B5EF4-FFF2-40B4-BE49-F238E27FC236}">
                <a16:creationId xmlns:a16="http://schemas.microsoft.com/office/drawing/2014/main" id="{B6DB320F-0A36-2D3A-FBCD-B8273ED80AFC}"/>
              </a:ext>
            </a:extLst>
          </p:cNvPr>
          <p:cNvCxnSpPr>
            <a:cxnSpLocks/>
          </p:cNvCxnSpPr>
          <p:nvPr/>
        </p:nvCxnSpPr>
        <p:spPr>
          <a:xfrm>
            <a:off x="5231449" y="3817145"/>
            <a:ext cx="288000" cy="63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1C14AD64-F645-44D7-3AB9-B47C9188E32A}"/>
              </a:ext>
            </a:extLst>
          </p:cNvPr>
          <p:cNvSpPr/>
          <p:nvPr/>
        </p:nvSpPr>
        <p:spPr>
          <a:xfrm>
            <a:off x="8050338" y="2065007"/>
            <a:ext cx="1188000" cy="266260"/>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t>DGI </a:t>
            </a:r>
          </a:p>
        </p:txBody>
      </p:sp>
      <p:sp>
        <p:nvSpPr>
          <p:cNvPr id="59" name="Rectangle 58">
            <a:extLst>
              <a:ext uri="{FF2B5EF4-FFF2-40B4-BE49-F238E27FC236}">
                <a16:creationId xmlns:a16="http://schemas.microsoft.com/office/drawing/2014/main" id="{863BBDCF-439E-C53D-07B2-B45F532BE70E}"/>
              </a:ext>
            </a:extLst>
          </p:cNvPr>
          <p:cNvSpPr/>
          <p:nvPr/>
        </p:nvSpPr>
        <p:spPr>
          <a:xfrm>
            <a:off x="8046611" y="2426373"/>
            <a:ext cx="1188000" cy="266260"/>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t>DGM</a:t>
            </a:r>
          </a:p>
        </p:txBody>
      </p:sp>
      <p:sp>
        <p:nvSpPr>
          <p:cNvPr id="60" name="Rectangle 59">
            <a:extLst>
              <a:ext uri="{FF2B5EF4-FFF2-40B4-BE49-F238E27FC236}">
                <a16:creationId xmlns:a16="http://schemas.microsoft.com/office/drawing/2014/main" id="{E489AA17-A1D5-E67B-6CEC-287240A6700F}"/>
              </a:ext>
            </a:extLst>
          </p:cNvPr>
          <p:cNvSpPr/>
          <p:nvPr/>
        </p:nvSpPr>
        <p:spPr>
          <a:xfrm>
            <a:off x="8046465" y="2778452"/>
            <a:ext cx="1188000" cy="266260"/>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t>SNH-DGH</a:t>
            </a:r>
          </a:p>
        </p:txBody>
      </p:sp>
      <p:sp>
        <p:nvSpPr>
          <p:cNvPr id="61" name="ZoneTexte 60">
            <a:extLst>
              <a:ext uri="{FF2B5EF4-FFF2-40B4-BE49-F238E27FC236}">
                <a16:creationId xmlns:a16="http://schemas.microsoft.com/office/drawing/2014/main" id="{63E895D7-1D7C-F26E-B15A-4601B9F915D1}"/>
              </a:ext>
            </a:extLst>
          </p:cNvPr>
          <p:cNvSpPr txBox="1"/>
          <p:nvPr/>
        </p:nvSpPr>
        <p:spPr>
          <a:xfrm>
            <a:off x="1456312" y="3942180"/>
            <a:ext cx="924974" cy="400110"/>
          </a:xfrm>
          <a:prstGeom prst="rect">
            <a:avLst/>
          </a:prstGeom>
          <a:noFill/>
        </p:spPr>
        <p:txBody>
          <a:bodyPr wrap="square" rtlCol="0">
            <a:spAutoFit/>
          </a:bodyPr>
          <a:lstStyle/>
          <a:p>
            <a:pPr algn="ctr"/>
            <a:r>
              <a:rPr lang="fr-FR" sz="1000" b="1" dirty="0"/>
              <a:t>Déclaration des PJ</a:t>
            </a:r>
          </a:p>
        </p:txBody>
      </p:sp>
      <p:cxnSp>
        <p:nvCxnSpPr>
          <p:cNvPr id="62" name="Connecteur droit avec flèche 61">
            <a:extLst>
              <a:ext uri="{FF2B5EF4-FFF2-40B4-BE49-F238E27FC236}">
                <a16:creationId xmlns:a16="http://schemas.microsoft.com/office/drawing/2014/main" id="{60CAC42C-62A1-FEDC-F306-F38D3BD1027C}"/>
              </a:ext>
            </a:extLst>
          </p:cNvPr>
          <p:cNvCxnSpPr>
            <a:cxnSpLocks/>
          </p:cNvCxnSpPr>
          <p:nvPr/>
        </p:nvCxnSpPr>
        <p:spPr>
          <a:xfrm flipV="1">
            <a:off x="770466" y="3712194"/>
            <a:ext cx="815215" cy="817224"/>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63" name="Picture 3">
            <a:extLst>
              <a:ext uri="{FF2B5EF4-FFF2-40B4-BE49-F238E27FC236}">
                <a16:creationId xmlns:a16="http://schemas.microsoft.com/office/drawing/2014/main" id="{DD7D7901-A84E-3E2A-A90D-03AF75EEA816}"/>
              </a:ext>
            </a:extLst>
          </p:cNvPr>
          <p:cNvPicPr/>
          <p:nvPr/>
        </p:nvPicPr>
        <p:blipFill rotWithShape="1">
          <a:blip r:embed="rId2" cstate="print">
            <a:extLst>
              <a:ext uri="{28A0092B-C50C-407E-A947-70E740481C1C}">
                <a14:useLocalDpi xmlns:a14="http://schemas.microsoft.com/office/drawing/2010/main" val="0"/>
              </a:ext>
            </a:extLst>
          </a:blip>
          <a:srcRect l="2833" t="24317" r="88202" b="57892"/>
          <a:stretch/>
        </p:blipFill>
        <p:spPr bwMode="auto">
          <a:xfrm>
            <a:off x="2875598" y="3422158"/>
            <a:ext cx="823153" cy="599512"/>
          </a:xfrm>
          <a:prstGeom prst="rect">
            <a:avLst/>
          </a:prstGeom>
          <a:noFill/>
        </p:spPr>
      </p:pic>
      <p:sp>
        <p:nvSpPr>
          <p:cNvPr id="64" name="ZoneTexte 63">
            <a:extLst>
              <a:ext uri="{FF2B5EF4-FFF2-40B4-BE49-F238E27FC236}">
                <a16:creationId xmlns:a16="http://schemas.microsoft.com/office/drawing/2014/main" id="{A988E12F-8409-F92D-7D16-7659176DF754}"/>
              </a:ext>
            </a:extLst>
          </p:cNvPr>
          <p:cNvSpPr txBox="1"/>
          <p:nvPr/>
        </p:nvSpPr>
        <p:spPr>
          <a:xfrm>
            <a:off x="2777993" y="3912403"/>
            <a:ext cx="940353" cy="246221"/>
          </a:xfrm>
          <a:prstGeom prst="rect">
            <a:avLst/>
          </a:prstGeom>
          <a:noFill/>
        </p:spPr>
        <p:txBody>
          <a:bodyPr wrap="square">
            <a:spAutoFit/>
          </a:bodyPr>
          <a:lstStyle/>
          <a:p>
            <a:pPr algn="ctr"/>
            <a:r>
              <a:rPr lang="fr-FR" sz="1000" b="1" dirty="0"/>
              <a:t>Greffier du TC</a:t>
            </a:r>
          </a:p>
        </p:txBody>
      </p:sp>
      <p:cxnSp>
        <p:nvCxnSpPr>
          <p:cNvPr id="65" name="Connecteur droit avec flèche 64">
            <a:extLst>
              <a:ext uri="{FF2B5EF4-FFF2-40B4-BE49-F238E27FC236}">
                <a16:creationId xmlns:a16="http://schemas.microsoft.com/office/drawing/2014/main" id="{F4B2A34F-08EE-A172-6056-E94E49E6A92C}"/>
              </a:ext>
            </a:extLst>
          </p:cNvPr>
          <p:cNvCxnSpPr>
            <a:cxnSpLocks/>
          </p:cNvCxnSpPr>
          <p:nvPr/>
        </p:nvCxnSpPr>
        <p:spPr>
          <a:xfrm>
            <a:off x="2334392" y="5420189"/>
            <a:ext cx="510529" cy="63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eur droit avec flèche 65">
            <a:extLst>
              <a:ext uri="{FF2B5EF4-FFF2-40B4-BE49-F238E27FC236}">
                <a16:creationId xmlns:a16="http://schemas.microsoft.com/office/drawing/2014/main" id="{3183E23B-C423-EE6F-F999-C03E6484DABF}"/>
              </a:ext>
            </a:extLst>
          </p:cNvPr>
          <p:cNvCxnSpPr>
            <a:cxnSpLocks/>
          </p:cNvCxnSpPr>
          <p:nvPr/>
        </p:nvCxnSpPr>
        <p:spPr>
          <a:xfrm>
            <a:off x="3701924" y="5435296"/>
            <a:ext cx="612000" cy="63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eur droit avec flèche 66">
            <a:extLst>
              <a:ext uri="{FF2B5EF4-FFF2-40B4-BE49-F238E27FC236}">
                <a16:creationId xmlns:a16="http://schemas.microsoft.com/office/drawing/2014/main" id="{C00F7935-659D-C53C-898A-9A4852F22015}"/>
              </a:ext>
            </a:extLst>
          </p:cNvPr>
          <p:cNvCxnSpPr>
            <a:cxnSpLocks/>
          </p:cNvCxnSpPr>
          <p:nvPr/>
        </p:nvCxnSpPr>
        <p:spPr>
          <a:xfrm>
            <a:off x="2319645" y="4042516"/>
            <a:ext cx="510529" cy="63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C072E072-50CF-B4D3-FA1D-82590109E42B}"/>
              </a:ext>
            </a:extLst>
          </p:cNvPr>
          <p:cNvSpPr/>
          <p:nvPr/>
        </p:nvSpPr>
        <p:spPr>
          <a:xfrm>
            <a:off x="8040091" y="3130339"/>
            <a:ext cx="1188000" cy="266260"/>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t>Douane</a:t>
            </a:r>
          </a:p>
        </p:txBody>
      </p:sp>
      <p:sp>
        <p:nvSpPr>
          <p:cNvPr id="69" name="Rectangle 68">
            <a:extLst>
              <a:ext uri="{FF2B5EF4-FFF2-40B4-BE49-F238E27FC236}">
                <a16:creationId xmlns:a16="http://schemas.microsoft.com/office/drawing/2014/main" id="{2A4B6AC9-BA4A-9E49-98E1-39EE3A61DD94}"/>
              </a:ext>
            </a:extLst>
          </p:cNvPr>
          <p:cNvSpPr/>
          <p:nvPr/>
        </p:nvSpPr>
        <p:spPr>
          <a:xfrm>
            <a:off x="8025442" y="3765888"/>
            <a:ext cx="1224000" cy="266260"/>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t>Opérateurs économiques</a:t>
            </a:r>
          </a:p>
        </p:txBody>
      </p:sp>
      <p:sp>
        <p:nvSpPr>
          <p:cNvPr id="70" name="Rectangle 69">
            <a:extLst>
              <a:ext uri="{FF2B5EF4-FFF2-40B4-BE49-F238E27FC236}">
                <a16:creationId xmlns:a16="http://schemas.microsoft.com/office/drawing/2014/main" id="{21FE2D27-FE3E-8A33-CB06-75C9E5406523}"/>
              </a:ext>
            </a:extLst>
          </p:cNvPr>
          <p:cNvSpPr/>
          <p:nvPr/>
        </p:nvSpPr>
        <p:spPr>
          <a:xfrm>
            <a:off x="8025442" y="4087391"/>
            <a:ext cx="1224000" cy="465190"/>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latin typeface="+mj-lt"/>
              </a:rPr>
              <a:t>Opérateurs assujettis/</a:t>
            </a:r>
            <a:r>
              <a:rPr lang="fr-FR" sz="1000" b="0" i="0" dirty="0">
                <a:solidFill>
                  <a:srgbClr val="202124"/>
                </a:solidFill>
                <a:effectLst/>
                <a:latin typeface="+mj-lt"/>
              </a:rPr>
              <a:t>LCB-FT)</a:t>
            </a:r>
            <a:endParaRPr lang="fr-FR" sz="1000" dirty="0">
              <a:latin typeface="+mj-lt"/>
            </a:endParaRPr>
          </a:p>
        </p:txBody>
      </p:sp>
      <p:sp>
        <p:nvSpPr>
          <p:cNvPr id="71" name="Rectangle 70">
            <a:extLst>
              <a:ext uri="{FF2B5EF4-FFF2-40B4-BE49-F238E27FC236}">
                <a16:creationId xmlns:a16="http://schemas.microsoft.com/office/drawing/2014/main" id="{F4E5CD80-E7A1-B6E7-842A-E5AD30F92D6D}"/>
              </a:ext>
            </a:extLst>
          </p:cNvPr>
          <p:cNvSpPr/>
          <p:nvPr/>
        </p:nvSpPr>
        <p:spPr>
          <a:xfrm>
            <a:off x="8029578" y="4610374"/>
            <a:ext cx="1224000" cy="217757"/>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t>Société civile</a:t>
            </a:r>
          </a:p>
        </p:txBody>
      </p:sp>
      <p:sp>
        <p:nvSpPr>
          <p:cNvPr id="72" name="Rectangle 71">
            <a:extLst>
              <a:ext uri="{FF2B5EF4-FFF2-40B4-BE49-F238E27FC236}">
                <a16:creationId xmlns:a16="http://schemas.microsoft.com/office/drawing/2014/main" id="{7317E420-CC3F-8545-0EA1-759A3FCBEE4D}"/>
              </a:ext>
            </a:extLst>
          </p:cNvPr>
          <p:cNvSpPr/>
          <p:nvPr/>
        </p:nvSpPr>
        <p:spPr>
          <a:xfrm>
            <a:off x="8025442" y="4884520"/>
            <a:ext cx="1224000" cy="217757"/>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t>Médias</a:t>
            </a:r>
          </a:p>
        </p:txBody>
      </p:sp>
      <p:sp>
        <p:nvSpPr>
          <p:cNvPr id="73" name="Rectangle 72">
            <a:extLst>
              <a:ext uri="{FF2B5EF4-FFF2-40B4-BE49-F238E27FC236}">
                <a16:creationId xmlns:a16="http://schemas.microsoft.com/office/drawing/2014/main" id="{F21289F8-C0B1-E5D4-D660-A614CEFE068A}"/>
              </a:ext>
            </a:extLst>
          </p:cNvPr>
          <p:cNvSpPr/>
          <p:nvPr/>
        </p:nvSpPr>
        <p:spPr>
          <a:xfrm>
            <a:off x="8025442" y="5177631"/>
            <a:ext cx="1224000" cy="217757"/>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t>Public</a:t>
            </a:r>
          </a:p>
        </p:txBody>
      </p:sp>
      <p:sp>
        <p:nvSpPr>
          <p:cNvPr id="74" name="Rectangle 73">
            <a:extLst>
              <a:ext uri="{FF2B5EF4-FFF2-40B4-BE49-F238E27FC236}">
                <a16:creationId xmlns:a16="http://schemas.microsoft.com/office/drawing/2014/main" id="{1DFD62D8-02D8-4477-6D37-C19F5A8033D9}"/>
              </a:ext>
            </a:extLst>
          </p:cNvPr>
          <p:cNvSpPr/>
          <p:nvPr/>
        </p:nvSpPr>
        <p:spPr>
          <a:xfrm>
            <a:off x="8046465" y="1706610"/>
            <a:ext cx="1188000" cy="266260"/>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solidFill>
                  <a:srgbClr val="404040"/>
                </a:solidFill>
                <a:effectLst/>
                <a:latin typeface="Trebuchet MS" panose="020B0603020202020204" pitchFamily="34" charset="0"/>
                <a:ea typeface="Times New Roman" panose="02020603050405020304" pitchFamily="18" charset="0"/>
                <a:cs typeface="Arial" panose="020B0604020202020204" pitchFamily="34" charset="0"/>
              </a:rPr>
              <a:t>MMP</a:t>
            </a:r>
            <a:endParaRPr lang="fr-FR" sz="1000" dirty="0"/>
          </a:p>
        </p:txBody>
      </p:sp>
      <p:sp>
        <p:nvSpPr>
          <p:cNvPr id="75" name="Rectangle 74">
            <a:extLst>
              <a:ext uri="{FF2B5EF4-FFF2-40B4-BE49-F238E27FC236}">
                <a16:creationId xmlns:a16="http://schemas.microsoft.com/office/drawing/2014/main" id="{309D7394-B326-99A0-6F4C-82A9DFEBDB57}"/>
              </a:ext>
            </a:extLst>
          </p:cNvPr>
          <p:cNvSpPr/>
          <p:nvPr/>
        </p:nvSpPr>
        <p:spPr>
          <a:xfrm>
            <a:off x="11282395" y="2338532"/>
            <a:ext cx="772988" cy="614999"/>
          </a:xfrm>
          <a:prstGeom prst="rect">
            <a:avLst/>
          </a:prstGeom>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t>Autorité judiciaire </a:t>
            </a:r>
          </a:p>
        </p:txBody>
      </p:sp>
      <p:sp>
        <p:nvSpPr>
          <p:cNvPr id="76" name="Rectangle 75">
            <a:extLst>
              <a:ext uri="{FF2B5EF4-FFF2-40B4-BE49-F238E27FC236}">
                <a16:creationId xmlns:a16="http://schemas.microsoft.com/office/drawing/2014/main" id="{F1B52C92-B5BB-8809-900F-53BEFAB332C7}"/>
              </a:ext>
            </a:extLst>
          </p:cNvPr>
          <p:cNvSpPr/>
          <p:nvPr/>
        </p:nvSpPr>
        <p:spPr>
          <a:xfrm>
            <a:off x="11163298" y="3960219"/>
            <a:ext cx="684519" cy="448934"/>
          </a:xfrm>
          <a:prstGeom prst="rect">
            <a:avLst/>
          </a:prstGeom>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900" dirty="0">
                <a:solidFill>
                  <a:srgbClr val="404040"/>
                </a:solidFill>
                <a:effectLst/>
                <a:latin typeface="Trebuchet MS" panose="020B0603020202020204" pitchFamily="34" charset="0"/>
                <a:ea typeface="Times New Roman" panose="02020603050405020304" pitchFamily="18" charset="0"/>
                <a:cs typeface="Arial" panose="020B0604020202020204" pitchFamily="34" charset="0"/>
              </a:rPr>
              <a:t>ANIF</a:t>
            </a:r>
            <a:endParaRPr lang="fr-FR" sz="900" dirty="0"/>
          </a:p>
        </p:txBody>
      </p:sp>
      <p:cxnSp>
        <p:nvCxnSpPr>
          <p:cNvPr id="77" name="Connecteur droit avec flèche 76">
            <a:extLst>
              <a:ext uri="{FF2B5EF4-FFF2-40B4-BE49-F238E27FC236}">
                <a16:creationId xmlns:a16="http://schemas.microsoft.com/office/drawing/2014/main" id="{9AD5F5A8-870E-0426-F141-D88B0C8871E9}"/>
              </a:ext>
            </a:extLst>
          </p:cNvPr>
          <p:cNvCxnSpPr>
            <a:cxnSpLocks/>
          </p:cNvCxnSpPr>
          <p:nvPr/>
        </p:nvCxnSpPr>
        <p:spPr>
          <a:xfrm flipV="1">
            <a:off x="11464233" y="2977991"/>
            <a:ext cx="1" cy="97200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onnecteur droit avec flèche 77">
            <a:extLst>
              <a:ext uri="{FF2B5EF4-FFF2-40B4-BE49-F238E27FC236}">
                <a16:creationId xmlns:a16="http://schemas.microsoft.com/office/drawing/2014/main" id="{E17697A5-6B59-3706-0681-6D5BBBFCFB45}"/>
              </a:ext>
            </a:extLst>
          </p:cNvPr>
          <p:cNvCxnSpPr>
            <a:cxnSpLocks/>
          </p:cNvCxnSpPr>
          <p:nvPr/>
        </p:nvCxnSpPr>
        <p:spPr>
          <a:xfrm>
            <a:off x="10839751" y="4261642"/>
            <a:ext cx="324000" cy="63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7091471D-BD58-EE86-FE62-F999CE2E7DF4}"/>
              </a:ext>
            </a:extLst>
          </p:cNvPr>
          <p:cNvSpPr/>
          <p:nvPr/>
        </p:nvSpPr>
        <p:spPr>
          <a:xfrm>
            <a:off x="9394183" y="1711196"/>
            <a:ext cx="1404000" cy="257581"/>
          </a:xfrm>
          <a:prstGeom prst="rect">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r>
              <a:rPr lang="fr-FR" sz="1000" dirty="0">
                <a:solidFill>
                  <a:srgbClr val="404040"/>
                </a:solidFill>
                <a:effectLst/>
                <a:latin typeface="Trebuchet MS" panose="020B0603020202020204" pitchFamily="34" charset="0"/>
                <a:ea typeface="Times New Roman" panose="02020603050405020304" pitchFamily="18" charset="0"/>
                <a:cs typeface="Arial" panose="020B0604020202020204" pitchFamily="34" charset="0"/>
              </a:rPr>
              <a:t>Contrôle d’éligibilité</a:t>
            </a:r>
            <a:endParaRPr lang="fr-FR" sz="1000" dirty="0"/>
          </a:p>
        </p:txBody>
      </p:sp>
      <p:sp>
        <p:nvSpPr>
          <p:cNvPr id="80" name="Rectangle 79">
            <a:extLst>
              <a:ext uri="{FF2B5EF4-FFF2-40B4-BE49-F238E27FC236}">
                <a16:creationId xmlns:a16="http://schemas.microsoft.com/office/drawing/2014/main" id="{3F0C3EC8-09BC-C8CC-642E-E927C9E75863}"/>
              </a:ext>
            </a:extLst>
          </p:cNvPr>
          <p:cNvSpPr/>
          <p:nvPr/>
        </p:nvSpPr>
        <p:spPr>
          <a:xfrm>
            <a:off x="9390013" y="2072135"/>
            <a:ext cx="1404000" cy="257581"/>
          </a:xfrm>
          <a:prstGeom prst="rect">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r>
              <a:rPr lang="fr-FR" sz="1000" dirty="0">
                <a:solidFill>
                  <a:srgbClr val="404040"/>
                </a:solidFill>
                <a:effectLst/>
                <a:latin typeface="Trebuchet MS" panose="020B0603020202020204" pitchFamily="34" charset="0"/>
                <a:ea typeface="Times New Roman" panose="02020603050405020304" pitchFamily="18" charset="0"/>
                <a:cs typeface="Arial" panose="020B0604020202020204" pitchFamily="34" charset="0"/>
              </a:rPr>
              <a:t>Contrôle fiscal</a:t>
            </a:r>
            <a:endParaRPr lang="fr-FR" sz="1000" dirty="0"/>
          </a:p>
        </p:txBody>
      </p:sp>
      <p:sp>
        <p:nvSpPr>
          <p:cNvPr id="81" name="Rectangle 80">
            <a:extLst>
              <a:ext uri="{FF2B5EF4-FFF2-40B4-BE49-F238E27FC236}">
                <a16:creationId xmlns:a16="http://schemas.microsoft.com/office/drawing/2014/main" id="{1427E5A9-65B5-2037-6305-80F2F9962F82}"/>
              </a:ext>
            </a:extLst>
          </p:cNvPr>
          <p:cNvSpPr/>
          <p:nvPr/>
        </p:nvSpPr>
        <p:spPr>
          <a:xfrm>
            <a:off x="9388423" y="2432078"/>
            <a:ext cx="1404000" cy="257581"/>
          </a:xfrm>
          <a:prstGeom prst="rect">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r>
              <a:rPr lang="fr-FR" sz="1000" dirty="0">
                <a:solidFill>
                  <a:srgbClr val="404040"/>
                </a:solidFill>
                <a:effectLst/>
                <a:latin typeface="Trebuchet MS" panose="020B0603020202020204" pitchFamily="34" charset="0"/>
                <a:ea typeface="Times New Roman" panose="02020603050405020304" pitchFamily="18" charset="0"/>
                <a:cs typeface="Arial" panose="020B0604020202020204" pitchFamily="34" charset="0"/>
              </a:rPr>
              <a:t>Contrôle d’éligibilité</a:t>
            </a:r>
            <a:endParaRPr lang="fr-FR" sz="1000" dirty="0"/>
          </a:p>
        </p:txBody>
      </p:sp>
      <p:sp>
        <p:nvSpPr>
          <p:cNvPr id="82" name="Rectangle 81">
            <a:extLst>
              <a:ext uri="{FF2B5EF4-FFF2-40B4-BE49-F238E27FC236}">
                <a16:creationId xmlns:a16="http://schemas.microsoft.com/office/drawing/2014/main" id="{BA07171F-E3D6-AE05-05CA-C93F360A614E}"/>
              </a:ext>
            </a:extLst>
          </p:cNvPr>
          <p:cNvSpPr/>
          <p:nvPr/>
        </p:nvSpPr>
        <p:spPr>
          <a:xfrm>
            <a:off x="9391187" y="2796673"/>
            <a:ext cx="1404000" cy="257581"/>
          </a:xfrm>
          <a:prstGeom prst="rect">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r>
              <a:rPr lang="fr-FR" sz="1000" dirty="0">
                <a:solidFill>
                  <a:srgbClr val="404040"/>
                </a:solidFill>
                <a:effectLst/>
                <a:latin typeface="Trebuchet MS" panose="020B0603020202020204" pitchFamily="34" charset="0"/>
                <a:ea typeface="Times New Roman" panose="02020603050405020304" pitchFamily="18" charset="0"/>
                <a:cs typeface="Arial" panose="020B0604020202020204" pitchFamily="34" charset="0"/>
              </a:rPr>
              <a:t>Contrôle d’éligibilité</a:t>
            </a:r>
            <a:endParaRPr lang="fr-FR" sz="1000" dirty="0"/>
          </a:p>
        </p:txBody>
      </p:sp>
      <p:sp>
        <p:nvSpPr>
          <p:cNvPr id="83" name="Rectangle 82">
            <a:extLst>
              <a:ext uri="{FF2B5EF4-FFF2-40B4-BE49-F238E27FC236}">
                <a16:creationId xmlns:a16="http://schemas.microsoft.com/office/drawing/2014/main" id="{ED2AAD7A-09AC-5E79-FB6B-4648312C54C6}"/>
              </a:ext>
            </a:extLst>
          </p:cNvPr>
          <p:cNvSpPr/>
          <p:nvPr/>
        </p:nvSpPr>
        <p:spPr>
          <a:xfrm>
            <a:off x="9395635" y="3139094"/>
            <a:ext cx="1404000" cy="257581"/>
          </a:xfrm>
          <a:prstGeom prst="rect">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r>
              <a:rPr lang="fr-FR" sz="1000" dirty="0">
                <a:solidFill>
                  <a:srgbClr val="404040"/>
                </a:solidFill>
                <a:effectLst/>
                <a:latin typeface="Trebuchet MS" panose="020B0603020202020204" pitchFamily="34" charset="0"/>
                <a:ea typeface="Times New Roman" panose="02020603050405020304" pitchFamily="18" charset="0"/>
                <a:cs typeface="Arial" panose="020B0604020202020204" pitchFamily="34" charset="0"/>
              </a:rPr>
              <a:t>Contrôle douanier </a:t>
            </a:r>
            <a:endParaRPr lang="fr-FR" sz="1000" dirty="0"/>
          </a:p>
        </p:txBody>
      </p:sp>
      <p:sp>
        <p:nvSpPr>
          <p:cNvPr id="84" name="Rectangle 83">
            <a:extLst>
              <a:ext uri="{FF2B5EF4-FFF2-40B4-BE49-F238E27FC236}">
                <a16:creationId xmlns:a16="http://schemas.microsoft.com/office/drawing/2014/main" id="{7B069573-755F-079E-928F-1F653684A7D6}"/>
              </a:ext>
            </a:extLst>
          </p:cNvPr>
          <p:cNvSpPr/>
          <p:nvPr/>
        </p:nvSpPr>
        <p:spPr>
          <a:xfrm>
            <a:off x="9395635" y="4077263"/>
            <a:ext cx="1404000" cy="432000"/>
          </a:xfrm>
          <a:prstGeom prst="rect">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r>
              <a:rPr lang="fr-FR" sz="1000" dirty="0">
                <a:solidFill>
                  <a:srgbClr val="404040"/>
                </a:solidFill>
                <a:latin typeface="Trebuchet MS" panose="020B0603020202020204" pitchFamily="34" charset="0"/>
                <a:cs typeface="Arial" panose="020B0604020202020204" pitchFamily="34" charset="0"/>
              </a:rPr>
              <a:t>Déclarations de soupçons /flux illicites</a:t>
            </a:r>
            <a:endParaRPr lang="fr-FR" sz="1000" dirty="0"/>
          </a:p>
        </p:txBody>
      </p:sp>
      <p:sp>
        <p:nvSpPr>
          <p:cNvPr id="85" name="Rectangle 84">
            <a:extLst>
              <a:ext uri="{FF2B5EF4-FFF2-40B4-BE49-F238E27FC236}">
                <a16:creationId xmlns:a16="http://schemas.microsoft.com/office/drawing/2014/main" id="{FC7F63DC-A5BF-1683-E417-6C864BF74DE6}"/>
              </a:ext>
            </a:extLst>
          </p:cNvPr>
          <p:cNvSpPr/>
          <p:nvPr/>
        </p:nvSpPr>
        <p:spPr>
          <a:xfrm>
            <a:off x="9405012" y="3757909"/>
            <a:ext cx="1404000" cy="257581"/>
          </a:xfrm>
          <a:prstGeom prst="rect">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r>
              <a:rPr lang="fr-FR" sz="1000" dirty="0">
                <a:solidFill>
                  <a:srgbClr val="404040"/>
                </a:solidFill>
                <a:latin typeface="Trebuchet MS" panose="020B0603020202020204" pitchFamily="34" charset="0"/>
                <a:cs typeface="Arial" panose="020B0604020202020204" pitchFamily="34" charset="0"/>
              </a:rPr>
              <a:t>Contrôle de réputation </a:t>
            </a:r>
            <a:endParaRPr lang="fr-FR" sz="1000" dirty="0"/>
          </a:p>
        </p:txBody>
      </p:sp>
      <p:sp>
        <p:nvSpPr>
          <p:cNvPr id="86" name="Rectangle 85">
            <a:extLst>
              <a:ext uri="{FF2B5EF4-FFF2-40B4-BE49-F238E27FC236}">
                <a16:creationId xmlns:a16="http://schemas.microsoft.com/office/drawing/2014/main" id="{E9EF2155-47C2-9A2C-C0B0-49BCC1184B11}"/>
              </a:ext>
            </a:extLst>
          </p:cNvPr>
          <p:cNvSpPr/>
          <p:nvPr/>
        </p:nvSpPr>
        <p:spPr>
          <a:xfrm>
            <a:off x="9405012" y="4583763"/>
            <a:ext cx="1404000" cy="811626"/>
          </a:xfrm>
          <a:prstGeom prst="rect">
            <a:avLst/>
          </a:prstGeom>
          <a:ln>
            <a:solidFill>
              <a:schemeClr val="accent2"/>
            </a:solidFill>
          </a:ln>
        </p:spPr>
        <p:style>
          <a:lnRef idx="2">
            <a:schemeClr val="accent6"/>
          </a:lnRef>
          <a:fillRef idx="1">
            <a:schemeClr val="lt1"/>
          </a:fillRef>
          <a:effectRef idx="0">
            <a:schemeClr val="accent6"/>
          </a:effectRef>
          <a:fontRef idx="minor">
            <a:schemeClr val="dk1"/>
          </a:fontRef>
        </p:style>
        <p:txBody>
          <a:bodyPr rtlCol="0" anchor="ctr"/>
          <a:lstStyle/>
          <a:p>
            <a:r>
              <a:rPr lang="fr-FR" sz="1000" dirty="0">
                <a:solidFill>
                  <a:srgbClr val="404040"/>
                </a:solidFill>
                <a:latin typeface="Trebuchet MS" panose="020B0603020202020204" pitchFamily="34" charset="0"/>
                <a:cs typeface="Arial" panose="020B0604020202020204" pitchFamily="34" charset="0"/>
              </a:rPr>
              <a:t>Enquête/Alerte</a:t>
            </a:r>
            <a:endParaRPr lang="fr-FR" sz="1000" dirty="0"/>
          </a:p>
        </p:txBody>
      </p:sp>
      <p:sp>
        <p:nvSpPr>
          <p:cNvPr id="87" name="Rectangle 86">
            <a:extLst>
              <a:ext uri="{FF2B5EF4-FFF2-40B4-BE49-F238E27FC236}">
                <a16:creationId xmlns:a16="http://schemas.microsoft.com/office/drawing/2014/main" id="{7DAF50F5-1706-042A-C358-493360E5BF65}"/>
              </a:ext>
            </a:extLst>
          </p:cNvPr>
          <p:cNvSpPr/>
          <p:nvPr/>
        </p:nvSpPr>
        <p:spPr>
          <a:xfrm>
            <a:off x="11357285" y="4718886"/>
            <a:ext cx="612001" cy="292477"/>
          </a:xfrm>
          <a:prstGeom prst="rect">
            <a:avLst/>
          </a:prstGeom>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solidFill>
                  <a:srgbClr val="404040"/>
                </a:solidFill>
                <a:latin typeface="Trebuchet MS" panose="020B0603020202020204" pitchFamily="34" charset="0"/>
                <a:cs typeface="Arial" panose="020B0604020202020204" pitchFamily="34" charset="0"/>
              </a:rPr>
              <a:t>CONAC</a:t>
            </a:r>
            <a:endParaRPr lang="fr-FR" sz="1000" dirty="0"/>
          </a:p>
        </p:txBody>
      </p:sp>
      <p:cxnSp>
        <p:nvCxnSpPr>
          <p:cNvPr id="88" name="Connecteur droit avec flèche 87">
            <a:extLst>
              <a:ext uri="{FF2B5EF4-FFF2-40B4-BE49-F238E27FC236}">
                <a16:creationId xmlns:a16="http://schemas.microsoft.com/office/drawing/2014/main" id="{3C4415DE-D5FE-E23D-8C95-7AF50D61FAA9}"/>
              </a:ext>
            </a:extLst>
          </p:cNvPr>
          <p:cNvCxnSpPr>
            <a:cxnSpLocks/>
          </p:cNvCxnSpPr>
          <p:nvPr/>
        </p:nvCxnSpPr>
        <p:spPr>
          <a:xfrm>
            <a:off x="11476208" y="4466886"/>
            <a:ext cx="0" cy="25200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9" name="Parenthèse fermante 88">
            <a:extLst>
              <a:ext uri="{FF2B5EF4-FFF2-40B4-BE49-F238E27FC236}">
                <a16:creationId xmlns:a16="http://schemas.microsoft.com/office/drawing/2014/main" id="{59B7BFA8-D3D7-CC8A-8B3A-AC83C5C214CB}"/>
              </a:ext>
            </a:extLst>
          </p:cNvPr>
          <p:cNvSpPr/>
          <p:nvPr/>
        </p:nvSpPr>
        <p:spPr>
          <a:xfrm>
            <a:off x="10829241" y="1739022"/>
            <a:ext cx="55987" cy="1683136"/>
          </a:xfrm>
          <a:prstGeom prst="rightBracket">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n>
                <a:solidFill>
                  <a:srgbClr val="FF0000"/>
                </a:solidFill>
              </a:ln>
              <a:solidFill>
                <a:srgbClr val="FF0000"/>
              </a:solidFill>
            </a:endParaRPr>
          </a:p>
        </p:txBody>
      </p:sp>
      <p:cxnSp>
        <p:nvCxnSpPr>
          <p:cNvPr id="90" name="Connecteur droit avec flèche 89">
            <a:extLst>
              <a:ext uri="{FF2B5EF4-FFF2-40B4-BE49-F238E27FC236}">
                <a16:creationId xmlns:a16="http://schemas.microsoft.com/office/drawing/2014/main" id="{F406CA8B-A972-DB6B-E44A-7476F0ABBAB2}"/>
              </a:ext>
            </a:extLst>
          </p:cNvPr>
          <p:cNvCxnSpPr>
            <a:cxnSpLocks/>
          </p:cNvCxnSpPr>
          <p:nvPr/>
        </p:nvCxnSpPr>
        <p:spPr>
          <a:xfrm>
            <a:off x="10941602" y="2645393"/>
            <a:ext cx="324000" cy="63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1" name="Connecteur droit avec flèche 90">
            <a:extLst>
              <a:ext uri="{FF2B5EF4-FFF2-40B4-BE49-F238E27FC236}">
                <a16:creationId xmlns:a16="http://schemas.microsoft.com/office/drawing/2014/main" id="{0921FA07-7288-87AD-A3B5-5000B6217742}"/>
              </a:ext>
            </a:extLst>
          </p:cNvPr>
          <p:cNvCxnSpPr>
            <a:cxnSpLocks/>
          </p:cNvCxnSpPr>
          <p:nvPr/>
        </p:nvCxnSpPr>
        <p:spPr>
          <a:xfrm>
            <a:off x="10839298" y="4892751"/>
            <a:ext cx="504000" cy="63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eur droit avec flèche 91">
            <a:extLst>
              <a:ext uri="{FF2B5EF4-FFF2-40B4-BE49-F238E27FC236}">
                <a16:creationId xmlns:a16="http://schemas.microsoft.com/office/drawing/2014/main" id="{71550D32-0F56-5A21-29A2-437A2122A0D6}"/>
              </a:ext>
            </a:extLst>
          </p:cNvPr>
          <p:cNvCxnSpPr>
            <a:cxnSpLocks/>
          </p:cNvCxnSpPr>
          <p:nvPr/>
        </p:nvCxnSpPr>
        <p:spPr>
          <a:xfrm>
            <a:off x="10853705" y="6226304"/>
            <a:ext cx="1245005" cy="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3" name="ZoneTexte 92">
            <a:extLst>
              <a:ext uri="{FF2B5EF4-FFF2-40B4-BE49-F238E27FC236}">
                <a16:creationId xmlns:a16="http://schemas.microsoft.com/office/drawing/2014/main" id="{71600843-DED9-09AE-4761-B63B0932D896}"/>
              </a:ext>
            </a:extLst>
          </p:cNvPr>
          <p:cNvSpPr txBox="1"/>
          <p:nvPr/>
        </p:nvSpPr>
        <p:spPr>
          <a:xfrm>
            <a:off x="10718853" y="6338448"/>
            <a:ext cx="1585105" cy="276999"/>
          </a:xfrm>
          <a:prstGeom prst="rect">
            <a:avLst/>
          </a:prstGeom>
          <a:noFill/>
          <a:ln>
            <a:noFill/>
          </a:ln>
        </p:spPr>
        <p:txBody>
          <a:bodyPr wrap="square" rtlCol="0">
            <a:spAutoFit/>
          </a:bodyPr>
          <a:lstStyle/>
          <a:p>
            <a:pPr algn="ctr"/>
            <a:r>
              <a:rPr lang="fr-FR" sz="1200" b="1" dirty="0">
                <a:solidFill>
                  <a:srgbClr val="FF0000"/>
                </a:solidFill>
              </a:rPr>
              <a:t>Répression</a:t>
            </a:r>
          </a:p>
        </p:txBody>
      </p:sp>
      <p:sp>
        <p:nvSpPr>
          <p:cNvPr id="94" name="Parenthèse ouvrante 93">
            <a:extLst>
              <a:ext uri="{FF2B5EF4-FFF2-40B4-BE49-F238E27FC236}">
                <a16:creationId xmlns:a16="http://schemas.microsoft.com/office/drawing/2014/main" id="{9989C339-2B65-C0FF-475E-2292D0477442}"/>
              </a:ext>
            </a:extLst>
          </p:cNvPr>
          <p:cNvSpPr/>
          <p:nvPr/>
        </p:nvSpPr>
        <p:spPr>
          <a:xfrm>
            <a:off x="7880272" y="1713463"/>
            <a:ext cx="103020" cy="1683136"/>
          </a:xfrm>
          <a:prstGeom prst="leftBracket">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pic>
        <p:nvPicPr>
          <p:cNvPr id="95" name="Picture 3">
            <a:extLst>
              <a:ext uri="{FF2B5EF4-FFF2-40B4-BE49-F238E27FC236}">
                <a16:creationId xmlns:a16="http://schemas.microsoft.com/office/drawing/2014/main" id="{45DF7166-6915-CDA3-39EE-83BA7B353CD5}"/>
              </a:ext>
            </a:extLst>
          </p:cNvPr>
          <p:cNvPicPr/>
          <p:nvPr/>
        </p:nvPicPr>
        <p:blipFill rotWithShape="1">
          <a:blip r:embed="rId2" cstate="print">
            <a:extLst>
              <a:ext uri="{28A0092B-C50C-407E-A947-70E740481C1C}">
                <a14:useLocalDpi xmlns:a14="http://schemas.microsoft.com/office/drawing/2010/main" val="0"/>
              </a:ext>
            </a:extLst>
          </a:blip>
          <a:srcRect l="83768" t="32007" r="5705" b="56335"/>
          <a:stretch/>
        </p:blipFill>
        <p:spPr bwMode="auto">
          <a:xfrm>
            <a:off x="6647809" y="1862081"/>
            <a:ext cx="1124607" cy="725214"/>
          </a:xfrm>
          <a:prstGeom prst="rect">
            <a:avLst/>
          </a:prstGeom>
          <a:noFill/>
        </p:spPr>
      </p:pic>
      <p:cxnSp>
        <p:nvCxnSpPr>
          <p:cNvPr id="96" name="Connecteur droit avec flèche 95">
            <a:extLst>
              <a:ext uri="{FF2B5EF4-FFF2-40B4-BE49-F238E27FC236}">
                <a16:creationId xmlns:a16="http://schemas.microsoft.com/office/drawing/2014/main" id="{DC4D74C2-6F35-D039-20DE-368CC8582F50}"/>
              </a:ext>
            </a:extLst>
          </p:cNvPr>
          <p:cNvCxnSpPr>
            <a:cxnSpLocks/>
          </p:cNvCxnSpPr>
          <p:nvPr/>
        </p:nvCxnSpPr>
        <p:spPr>
          <a:xfrm>
            <a:off x="10025946" y="5416970"/>
            <a:ext cx="0" cy="252000"/>
          </a:xfrm>
          <a:prstGeom prst="straightConnector1">
            <a:avLst/>
          </a:prstGeom>
          <a:ln>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97" name="Connecteur droit avec flèche 96">
            <a:extLst>
              <a:ext uri="{FF2B5EF4-FFF2-40B4-BE49-F238E27FC236}">
                <a16:creationId xmlns:a16="http://schemas.microsoft.com/office/drawing/2014/main" id="{F4F88ED9-20C9-7926-370D-EE494C3A73BA}"/>
              </a:ext>
            </a:extLst>
          </p:cNvPr>
          <p:cNvCxnSpPr>
            <a:cxnSpLocks/>
          </p:cNvCxnSpPr>
          <p:nvPr/>
        </p:nvCxnSpPr>
        <p:spPr>
          <a:xfrm flipH="1">
            <a:off x="5137093" y="5680043"/>
            <a:ext cx="6084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E56D2906-0FB8-7C9D-2191-0F9413326BD8}"/>
              </a:ext>
            </a:extLst>
          </p:cNvPr>
          <p:cNvCxnSpPr>
            <a:cxnSpLocks/>
          </p:cNvCxnSpPr>
          <p:nvPr/>
        </p:nvCxnSpPr>
        <p:spPr>
          <a:xfrm>
            <a:off x="11232820" y="4411096"/>
            <a:ext cx="0" cy="1260000"/>
          </a:xfrm>
          <a:prstGeom prst="straightConnector1">
            <a:avLst/>
          </a:prstGeom>
          <a:ln>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99" name="Connecteur droit avec flèche 98">
            <a:extLst>
              <a:ext uri="{FF2B5EF4-FFF2-40B4-BE49-F238E27FC236}">
                <a16:creationId xmlns:a16="http://schemas.microsoft.com/office/drawing/2014/main" id="{05913680-D13C-DF6F-6A21-78E1B4612E78}"/>
              </a:ext>
            </a:extLst>
          </p:cNvPr>
          <p:cNvCxnSpPr>
            <a:cxnSpLocks/>
          </p:cNvCxnSpPr>
          <p:nvPr/>
        </p:nvCxnSpPr>
        <p:spPr>
          <a:xfrm flipH="1">
            <a:off x="3619892" y="5679480"/>
            <a:ext cx="684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eur droit avec flèche 99">
            <a:extLst>
              <a:ext uri="{FF2B5EF4-FFF2-40B4-BE49-F238E27FC236}">
                <a16:creationId xmlns:a16="http://schemas.microsoft.com/office/drawing/2014/main" id="{E7EAA8CF-84ED-70C1-E419-5F1A9F538CEC}"/>
              </a:ext>
            </a:extLst>
          </p:cNvPr>
          <p:cNvCxnSpPr>
            <a:cxnSpLocks/>
          </p:cNvCxnSpPr>
          <p:nvPr/>
        </p:nvCxnSpPr>
        <p:spPr>
          <a:xfrm flipH="1">
            <a:off x="1158204" y="5673121"/>
            <a:ext cx="169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Parenthèse ouvrante 100">
            <a:extLst>
              <a:ext uri="{FF2B5EF4-FFF2-40B4-BE49-F238E27FC236}">
                <a16:creationId xmlns:a16="http://schemas.microsoft.com/office/drawing/2014/main" id="{0681AF83-A186-4F90-8B80-520A83FF2E45}"/>
              </a:ext>
            </a:extLst>
          </p:cNvPr>
          <p:cNvSpPr/>
          <p:nvPr/>
        </p:nvSpPr>
        <p:spPr>
          <a:xfrm>
            <a:off x="7864046" y="3758296"/>
            <a:ext cx="103020" cy="1683136"/>
          </a:xfrm>
          <a:prstGeom prst="leftBracket">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cxnSp>
        <p:nvCxnSpPr>
          <p:cNvPr id="102" name="Connecteur droit avec flèche 101">
            <a:extLst>
              <a:ext uri="{FF2B5EF4-FFF2-40B4-BE49-F238E27FC236}">
                <a16:creationId xmlns:a16="http://schemas.microsoft.com/office/drawing/2014/main" id="{456AD8D3-A812-CC44-74CB-C341BACB0BC7}"/>
              </a:ext>
            </a:extLst>
          </p:cNvPr>
          <p:cNvCxnSpPr>
            <a:cxnSpLocks/>
          </p:cNvCxnSpPr>
          <p:nvPr/>
        </p:nvCxnSpPr>
        <p:spPr>
          <a:xfrm>
            <a:off x="9393758" y="6220697"/>
            <a:ext cx="1368000" cy="0"/>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 name="ZoneTexte 102">
            <a:extLst>
              <a:ext uri="{FF2B5EF4-FFF2-40B4-BE49-F238E27FC236}">
                <a16:creationId xmlns:a16="http://schemas.microsoft.com/office/drawing/2014/main" id="{3FD6AB7E-D7FA-9F3D-29E9-538C9B42E150}"/>
              </a:ext>
            </a:extLst>
          </p:cNvPr>
          <p:cNvSpPr txBox="1"/>
          <p:nvPr/>
        </p:nvSpPr>
        <p:spPr>
          <a:xfrm>
            <a:off x="8744169" y="6335631"/>
            <a:ext cx="2736000" cy="276999"/>
          </a:xfrm>
          <a:prstGeom prst="rect">
            <a:avLst/>
          </a:prstGeom>
          <a:noFill/>
        </p:spPr>
        <p:txBody>
          <a:bodyPr wrap="square" rtlCol="0">
            <a:spAutoFit/>
          </a:bodyPr>
          <a:lstStyle/>
          <a:p>
            <a:pPr algn="ctr"/>
            <a:r>
              <a:rPr lang="fr-FR" sz="1200" b="1" dirty="0">
                <a:solidFill>
                  <a:schemeClr val="accent2"/>
                </a:solidFill>
              </a:rPr>
              <a:t>Utilisation des données</a:t>
            </a:r>
          </a:p>
        </p:txBody>
      </p:sp>
      <p:sp>
        <p:nvSpPr>
          <p:cNvPr id="104" name="Rectangle : coins arrondis 103">
            <a:extLst>
              <a:ext uri="{FF2B5EF4-FFF2-40B4-BE49-F238E27FC236}">
                <a16:creationId xmlns:a16="http://schemas.microsoft.com/office/drawing/2014/main" id="{88016BF3-57F0-5E03-623D-C5E8579582F4}"/>
              </a:ext>
            </a:extLst>
          </p:cNvPr>
          <p:cNvSpPr/>
          <p:nvPr/>
        </p:nvSpPr>
        <p:spPr>
          <a:xfrm>
            <a:off x="6740138" y="4425994"/>
            <a:ext cx="923801" cy="249700"/>
          </a:xfrm>
          <a:prstGeom prst="roundRect">
            <a:avLst/>
          </a:prstGeom>
          <a:ln>
            <a:solidFill>
              <a:srgbClr val="00B0F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solidFill>
                  <a:schemeClr val="tx2"/>
                </a:solidFill>
              </a:rPr>
              <a:t>MMP </a:t>
            </a:r>
          </a:p>
          <a:p>
            <a:pPr algn="ctr"/>
            <a:r>
              <a:rPr lang="fr-FR" sz="1000" dirty="0">
                <a:solidFill>
                  <a:schemeClr val="tx2"/>
                </a:solidFill>
              </a:rPr>
              <a:t>(gré à gré) </a:t>
            </a:r>
          </a:p>
        </p:txBody>
      </p:sp>
      <p:sp>
        <p:nvSpPr>
          <p:cNvPr id="105" name="Rectangle : coins arrondis 104">
            <a:extLst>
              <a:ext uri="{FF2B5EF4-FFF2-40B4-BE49-F238E27FC236}">
                <a16:creationId xmlns:a16="http://schemas.microsoft.com/office/drawing/2014/main" id="{39D14E17-DBD3-952D-2996-30310CBAA6B4}"/>
              </a:ext>
            </a:extLst>
          </p:cNvPr>
          <p:cNvSpPr/>
          <p:nvPr/>
        </p:nvSpPr>
        <p:spPr>
          <a:xfrm>
            <a:off x="6736964" y="4714706"/>
            <a:ext cx="923801" cy="249700"/>
          </a:xfrm>
          <a:prstGeom prst="roundRect">
            <a:avLst/>
          </a:prstGeom>
          <a:ln>
            <a:solidFill>
              <a:srgbClr val="00B0F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solidFill>
                  <a:schemeClr val="tx2"/>
                </a:solidFill>
              </a:rPr>
              <a:t>RCCM</a:t>
            </a:r>
          </a:p>
        </p:txBody>
      </p:sp>
      <p:sp>
        <p:nvSpPr>
          <p:cNvPr id="106" name="Rectangle : coins arrondis 105">
            <a:extLst>
              <a:ext uri="{FF2B5EF4-FFF2-40B4-BE49-F238E27FC236}">
                <a16:creationId xmlns:a16="http://schemas.microsoft.com/office/drawing/2014/main" id="{56972243-558A-4E94-60C2-CEC89CB71D39}"/>
              </a:ext>
            </a:extLst>
          </p:cNvPr>
          <p:cNvSpPr/>
          <p:nvPr/>
        </p:nvSpPr>
        <p:spPr>
          <a:xfrm>
            <a:off x="6740893" y="5005951"/>
            <a:ext cx="923801" cy="249700"/>
          </a:xfrm>
          <a:prstGeom prst="roundRect">
            <a:avLst/>
          </a:prstGeom>
          <a:ln>
            <a:solidFill>
              <a:srgbClr val="00B0F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a:solidFill>
                  <a:schemeClr val="tx2"/>
                </a:solidFill>
              </a:rPr>
              <a:t>Cadastre</a:t>
            </a:r>
          </a:p>
        </p:txBody>
      </p:sp>
      <p:cxnSp>
        <p:nvCxnSpPr>
          <p:cNvPr id="107" name="Connecteur droit avec flèche 106">
            <a:extLst>
              <a:ext uri="{FF2B5EF4-FFF2-40B4-BE49-F238E27FC236}">
                <a16:creationId xmlns:a16="http://schemas.microsoft.com/office/drawing/2014/main" id="{7DEF8EE6-2AFD-63DD-BC8B-EEFB0EBBC95F}"/>
              </a:ext>
            </a:extLst>
          </p:cNvPr>
          <p:cNvCxnSpPr>
            <a:cxnSpLocks/>
          </p:cNvCxnSpPr>
          <p:nvPr/>
        </p:nvCxnSpPr>
        <p:spPr>
          <a:xfrm>
            <a:off x="5206176" y="3496501"/>
            <a:ext cx="288000" cy="63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eur droit avec flèche 107">
            <a:extLst>
              <a:ext uri="{FF2B5EF4-FFF2-40B4-BE49-F238E27FC236}">
                <a16:creationId xmlns:a16="http://schemas.microsoft.com/office/drawing/2014/main" id="{70F449B3-E1A9-0437-9E11-45B5EA8F0DB3}"/>
              </a:ext>
            </a:extLst>
          </p:cNvPr>
          <p:cNvCxnSpPr>
            <a:cxnSpLocks/>
          </p:cNvCxnSpPr>
          <p:nvPr/>
        </p:nvCxnSpPr>
        <p:spPr>
          <a:xfrm>
            <a:off x="5216282" y="4086753"/>
            <a:ext cx="288000" cy="63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Connecteur droit avec flèche 108">
            <a:extLst>
              <a:ext uri="{FF2B5EF4-FFF2-40B4-BE49-F238E27FC236}">
                <a16:creationId xmlns:a16="http://schemas.microsoft.com/office/drawing/2014/main" id="{F7B7F5C9-0047-0DD4-A32F-6AAB52A4D715}"/>
              </a:ext>
            </a:extLst>
          </p:cNvPr>
          <p:cNvCxnSpPr>
            <a:cxnSpLocks/>
          </p:cNvCxnSpPr>
          <p:nvPr/>
        </p:nvCxnSpPr>
        <p:spPr>
          <a:xfrm>
            <a:off x="3607118" y="4047952"/>
            <a:ext cx="510529" cy="63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onnecteur droit avec flèche 109">
            <a:extLst>
              <a:ext uri="{FF2B5EF4-FFF2-40B4-BE49-F238E27FC236}">
                <a16:creationId xmlns:a16="http://schemas.microsoft.com/office/drawing/2014/main" id="{4C2D3A2C-A38E-F4B1-19B8-763EA995A865}"/>
              </a:ext>
            </a:extLst>
          </p:cNvPr>
          <p:cNvCxnSpPr>
            <a:cxnSpLocks/>
          </p:cNvCxnSpPr>
          <p:nvPr/>
        </p:nvCxnSpPr>
        <p:spPr>
          <a:xfrm>
            <a:off x="4609178" y="2507221"/>
            <a:ext cx="0" cy="75600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onnecteur droit avec flèche 110">
            <a:extLst>
              <a:ext uri="{FF2B5EF4-FFF2-40B4-BE49-F238E27FC236}">
                <a16:creationId xmlns:a16="http://schemas.microsoft.com/office/drawing/2014/main" id="{2D421DB4-BE1F-9C87-C33C-1A01FB38084F}"/>
              </a:ext>
            </a:extLst>
          </p:cNvPr>
          <p:cNvCxnSpPr>
            <a:cxnSpLocks/>
          </p:cNvCxnSpPr>
          <p:nvPr/>
        </p:nvCxnSpPr>
        <p:spPr>
          <a:xfrm flipV="1">
            <a:off x="4923085" y="2472452"/>
            <a:ext cx="0" cy="75600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Connecteur droit avec flèche 111">
            <a:extLst>
              <a:ext uri="{FF2B5EF4-FFF2-40B4-BE49-F238E27FC236}">
                <a16:creationId xmlns:a16="http://schemas.microsoft.com/office/drawing/2014/main" id="{FC618E75-CC79-7B06-3F6F-59FB6EA9BA45}"/>
              </a:ext>
            </a:extLst>
          </p:cNvPr>
          <p:cNvCxnSpPr>
            <a:cxnSpLocks/>
          </p:cNvCxnSpPr>
          <p:nvPr/>
        </p:nvCxnSpPr>
        <p:spPr>
          <a:xfrm flipV="1">
            <a:off x="3685356" y="1663329"/>
            <a:ext cx="529169" cy="3267"/>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113" name="Picture 2">
            <a:extLst>
              <a:ext uri="{FF2B5EF4-FFF2-40B4-BE49-F238E27FC236}">
                <a16:creationId xmlns:a16="http://schemas.microsoft.com/office/drawing/2014/main" id="{6E0BCF0A-7A8C-F419-170A-CEF653A796D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7133" t="19455" r="-1"/>
          <a:stretch/>
        </p:blipFill>
        <p:spPr bwMode="auto">
          <a:xfrm>
            <a:off x="7015730" y="5356502"/>
            <a:ext cx="374364" cy="253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70625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C55F823-BC8D-4099-BD4B-BF1AB9C2E899}"/>
              </a:ext>
            </a:extLst>
          </p:cNvPr>
          <p:cNvGraphicFramePr>
            <a:graphicFrameLocks noChangeAspect="1"/>
          </p:cNvGraphicFramePr>
          <p:nvPr>
            <p:custDataLst>
              <p:tags r:id="rId1"/>
            </p:custDataLst>
          </p:nvPr>
        </p:nvGraphicFramePr>
        <p:xfrm>
          <a:off x="768585" y="2044"/>
          <a:ext cx="2044" cy="2044"/>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4" name="Objet 3" hidden="1">
                        <a:extLst>
                          <a:ext uri="{FF2B5EF4-FFF2-40B4-BE49-F238E27FC236}">
                            <a16:creationId xmlns:a16="http://schemas.microsoft.com/office/drawing/2014/main" id="{1C55F823-BC8D-4099-BD4B-BF1AB9C2E899}"/>
                          </a:ext>
                        </a:extLst>
                      </p:cNvPr>
                      <p:cNvPicPr/>
                      <p:nvPr/>
                    </p:nvPicPr>
                    <p:blipFill>
                      <a:blip r:embed="rId5"/>
                      <a:stretch>
                        <a:fillRect/>
                      </a:stretch>
                    </p:blipFill>
                    <p:spPr>
                      <a:xfrm>
                        <a:off x="768585" y="2044"/>
                        <a:ext cx="2044" cy="2044"/>
                      </a:xfrm>
                      <a:prstGeom prst="rect">
                        <a:avLst/>
                      </a:prstGeom>
                    </p:spPr>
                  </p:pic>
                </p:oleObj>
              </mc:Fallback>
            </mc:AlternateContent>
          </a:graphicData>
        </a:graphic>
      </p:graphicFrame>
      <p:sp>
        <p:nvSpPr>
          <p:cNvPr id="3" name="ZoneTexte 2">
            <a:extLst>
              <a:ext uri="{FF2B5EF4-FFF2-40B4-BE49-F238E27FC236}">
                <a16:creationId xmlns:a16="http://schemas.microsoft.com/office/drawing/2014/main" id="{B0262F37-0681-4BD1-8ED1-0B5A907E86C9}"/>
              </a:ext>
            </a:extLst>
          </p:cNvPr>
          <p:cNvSpPr txBox="1"/>
          <p:nvPr/>
        </p:nvSpPr>
        <p:spPr>
          <a:xfrm>
            <a:off x="278616" y="2429275"/>
            <a:ext cx="5165839" cy="1446550"/>
          </a:xfrm>
          <a:prstGeom prst="rect">
            <a:avLst/>
          </a:prstGeom>
          <a:solidFill>
            <a:srgbClr val="404040"/>
          </a:solidFill>
        </p:spPr>
        <p:txBody>
          <a:bodyPr wrap="square" rtlCol="0">
            <a:spAutoFit/>
          </a:bodyPr>
          <a:lstStyle/>
          <a:p>
            <a:pPr marL="857250" indent="-857250">
              <a:buFont typeface="+mj-lt"/>
              <a:buAutoNum type="romanUcPeriod" startAt="5"/>
            </a:pPr>
            <a:r>
              <a:rPr lang="fr-FR" sz="4400" b="1" dirty="0">
                <a:solidFill>
                  <a:schemeClr val="bg1"/>
                </a:solidFill>
                <a:latin typeface="Kohinoor Devanagari" panose="02000000000000000000" pitchFamily="50" charset="0"/>
                <a:cs typeface="Kohinoor Devanagari" panose="02000000000000000000" pitchFamily="50" charset="0"/>
              </a:rPr>
              <a:t>Plan de mise œuvre </a:t>
            </a:r>
            <a:endParaRPr lang="fr-FR" sz="4400" b="1" dirty="0">
              <a:solidFill>
                <a:schemeClr val="bg1"/>
              </a:solidFill>
            </a:endParaRPr>
          </a:p>
        </p:txBody>
      </p:sp>
      <p:pic>
        <p:nvPicPr>
          <p:cNvPr id="5" name="Picture 12" descr="A picture containing text, clipart&#10;&#10;Description automatically generated">
            <a:extLst>
              <a:ext uri="{FF2B5EF4-FFF2-40B4-BE49-F238E27FC236}">
                <a16:creationId xmlns:a16="http://schemas.microsoft.com/office/drawing/2014/main" id="{B3C7C647-B058-71B4-B600-4F5C30ACABC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24469" y="6129726"/>
            <a:ext cx="2363098" cy="365125"/>
          </a:xfrm>
          <a:prstGeom prst="rect">
            <a:avLst/>
          </a:prstGeom>
        </p:spPr>
      </p:pic>
    </p:spTree>
    <p:extLst>
      <p:ext uri="{BB962C8B-B14F-4D97-AF65-F5344CB8AC3E}">
        <p14:creationId xmlns:p14="http://schemas.microsoft.com/office/powerpoint/2010/main" val="33838820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a:bodyPr>
          <a:lstStyle/>
          <a:p>
            <a:r>
              <a:rPr lang="fr-FR" sz="3500" b="1" dirty="0">
                <a:solidFill>
                  <a:srgbClr val="61BC4D"/>
                </a:solidFill>
                <a:latin typeface="Kohinoor Devanagari" panose="02000000000000000000" pitchFamily="50" charset="0"/>
              </a:rPr>
              <a:t>Plan de mise en œuvre</a:t>
            </a: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28</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4" name="Tableau 3">
            <a:extLst>
              <a:ext uri="{FF2B5EF4-FFF2-40B4-BE49-F238E27FC236}">
                <a16:creationId xmlns:a16="http://schemas.microsoft.com/office/drawing/2014/main" id="{14D93515-4D2D-8448-514F-A48D81625849}"/>
              </a:ext>
            </a:extLst>
          </p:cNvPr>
          <p:cNvGraphicFramePr>
            <a:graphicFrameLocks noGrp="1"/>
          </p:cNvGraphicFramePr>
          <p:nvPr>
            <p:extLst>
              <p:ext uri="{D42A27DB-BD31-4B8C-83A1-F6EECF244321}">
                <p14:modId xmlns:p14="http://schemas.microsoft.com/office/powerpoint/2010/main" val="1008245952"/>
              </p:ext>
            </p:extLst>
          </p:nvPr>
        </p:nvGraphicFramePr>
        <p:xfrm>
          <a:off x="366042" y="1285996"/>
          <a:ext cx="11534776" cy="5222119"/>
        </p:xfrm>
        <a:graphic>
          <a:graphicData uri="http://schemas.openxmlformats.org/drawingml/2006/table">
            <a:tbl>
              <a:tblPr/>
              <a:tblGrid>
                <a:gridCol w="1371601">
                  <a:extLst>
                    <a:ext uri="{9D8B030D-6E8A-4147-A177-3AD203B41FA5}">
                      <a16:colId xmlns:a16="http://schemas.microsoft.com/office/drawing/2014/main" val="1360769684"/>
                    </a:ext>
                  </a:extLst>
                </a:gridCol>
                <a:gridCol w="2686050">
                  <a:extLst>
                    <a:ext uri="{9D8B030D-6E8A-4147-A177-3AD203B41FA5}">
                      <a16:colId xmlns:a16="http://schemas.microsoft.com/office/drawing/2014/main" val="3217043173"/>
                    </a:ext>
                  </a:extLst>
                </a:gridCol>
                <a:gridCol w="3248025">
                  <a:extLst>
                    <a:ext uri="{9D8B030D-6E8A-4147-A177-3AD203B41FA5}">
                      <a16:colId xmlns:a16="http://schemas.microsoft.com/office/drawing/2014/main" val="1672066450"/>
                    </a:ext>
                  </a:extLst>
                </a:gridCol>
                <a:gridCol w="2218405">
                  <a:extLst>
                    <a:ext uri="{9D8B030D-6E8A-4147-A177-3AD203B41FA5}">
                      <a16:colId xmlns:a16="http://schemas.microsoft.com/office/drawing/2014/main" val="3951492037"/>
                    </a:ext>
                  </a:extLst>
                </a:gridCol>
                <a:gridCol w="258483">
                  <a:extLst>
                    <a:ext uri="{9D8B030D-6E8A-4147-A177-3AD203B41FA5}">
                      <a16:colId xmlns:a16="http://schemas.microsoft.com/office/drawing/2014/main" val="1120323645"/>
                    </a:ext>
                  </a:extLst>
                </a:gridCol>
                <a:gridCol w="231143">
                  <a:extLst>
                    <a:ext uri="{9D8B030D-6E8A-4147-A177-3AD203B41FA5}">
                      <a16:colId xmlns:a16="http://schemas.microsoft.com/office/drawing/2014/main" val="1032318388"/>
                    </a:ext>
                  </a:extLst>
                </a:gridCol>
                <a:gridCol w="231143">
                  <a:extLst>
                    <a:ext uri="{9D8B030D-6E8A-4147-A177-3AD203B41FA5}">
                      <a16:colId xmlns:a16="http://schemas.microsoft.com/office/drawing/2014/main" val="1438861182"/>
                    </a:ext>
                  </a:extLst>
                </a:gridCol>
                <a:gridCol w="231143">
                  <a:extLst>
                    <a:ext uri="{9D8B030D-6E8A-4147-A177-3AD203B41FA5}">
                      <a16:colId xmlns:a16="http://schemas.microsoft.com/office/drawing/2014/main" val="1326370139"/>
                    </a:ext>
                  </a:extLst>
                </a:gridCol>
                <a:gridCol w="201318">
                  <a:extLst>
                    <a:ext uri="{9D8B030D-6E8A-4147-A177-3AD203B41FA5}">
                      <a16:colId xmlns:a16="http://schemas.microsoft.com/office/drawing/2014/main" val="195124461"/>
                    </a:ext>
                  </a:extLst>
                </a:gridCol>
                <a:gridCol w="253511">
                  <a:extLst>
                    <a:ext uri="{9D8B030D-6E8A-4147-A177-3AD203B41FA5}">
                      <a16:colId xmlns:a16="http://schemas.microsoft.com/office/drawing/2014/main" val="909861661"/>
                    </a:ext>
                  </a:extLst>
                </a:gridCol>
                <a:gridCol w="201318">
                  <a:extLst>
                    <a:ext uri="{9D8B030D-6E8A-4147-A177-3AD203B41FA5}">
                      <a16:colId xmlns:a16="http://schemas.microsoft.com/office/drawing/2014/main" val="157868346"/>
                    </a:ext>
                  </a:extLst>
                </a:gridCol>
                <a:gridCol w="201318">
                  <a:extLst>
                    <a:ext uri="{9D8B030D-6E8A-4147-A177-3AD203B41FA5}">
                      <a16:colId xmlns:a16="http://schemas.microsoft.com/office/drawing/2014/main" val="846504329"/>
                    </a:ext>
                  </a:extLst>
                </a:gridCol>
                <a:gridCol w="201318">
                  <a:extLst>
                    <a:ext uri="{9D8B030D-6E8A-4147-A177-3AD203B41FA5}">
                      <a16:colId xmlns:a16="http://schemas.microsoft.com/office/drawing/2014/main" val="2358361528"/>
                    </a:ext>
                  </a:extLst>
                </a:gridCol>
              </a:tblGrid>
              <a:tr h="259742">
                <a:tc rowSpan="2">
                  <a:txBody>
                    <a:bodyPr/>
                    <a:lstStyle/>
                    <a:p>
                      <a:pPr algn="l" fontAlgn="ctr"/>
                      <a:r>
                        <a:rPr lang="fr-FR" sz="1400" b="1" i="0" u="none" strike="noStrike" dirty="0">
                          <a:solidFill>
                            <a:srgbClr val="FFFFFF"/>
                          </a:solidFill>
                          <a:effectLst/>
                          <a:latin typeface="Arial" panose="020B0604020202020204" pitchFamily="34" charset="0"/>
                        </a:rPr>
                        <a:t>Axe stratégique</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rowSpan="2">
                  <a:txBody>
                    <a:bodyPr/>
                    <a:lstStyle/>
                    <a:p>
                      <a:pPr algn="ctr" fontAlgn="ctr"/>
                      <a:r>
                        <a:rPr lang="fr-FR" sz="1400" b="1" i="0" u="none" strike="noStrike" dirty="0">
                          <a:solidFill>
                            <a:srgbClr val="FFFFFF"/>
                          </a:solidFill>
                          <a:effectLst/>
                          <a:latin typeface="Arial" panose="020B0604020202020204" pitchFamily="34" charset="0"/>
                        </a:rPr>
                        <a:t>Activités/actions</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rowSpan="2">
                  <a:txBody>
                    <a:bodyPr/>
                    <a:lstStyle/>
                    <a:p>
                      <a:pPr algn="ctr" fontAlgn="ctr"/>
                      <a:r>
                        <a:rPr lang="fr-FR" sz="1400" b="1" i="0" u="none" strike="noStrike">
                          <a:solidFill>
                            <a:srgbClr val="FFFFFF"/>
                          </a:solidFill>
                          <a:effectLst/>
                          <a:latin typeface="Arial" panose="020B0604020202020204" pitchFamily="34" charset="0"/>
                        </a:rPr>
                        <a:t>Objectif /Résultat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rowSpan="2">
                  <a:txBody>
                    <a:bodyPr/>
                    <a:lstStyle/>
                    <a:p>
                      <a:pPr algn="ctr" fontAlgn="ctr"/>
                      <a:r>
                        <a:rPr lang="fr-FR" sz="1400" b="1" i="0" u="none" strike="noStrike" dirty="0">
                          <a:solidFill>
                            <a:srgbClr val="FFFFFF"/>
                          </a:solidFill>
                          <a:effectLst/>
                          <a:latin typeface="Arial" panose="020B0604020202020204" pitchFamily="34" charset="0"/>
                        </a:rPr>
                        <a:t>Partie prenantes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ctr"/>
                      <a:r>
                        <a:rPr lang="fr-FR" sz="1400" b="1" i="0" u="none" strike="noStrike" dirty="0">
                          <a:solidFill>
                            <a:srgbClr val="FFFFFF"/>
                          </a:solidFill>
                          <a:effectLst/>
                          <a:latin typeface="Arial" panose="020B0604020202020204" pitchFamily="34" charset="0"/>
                        </a:rPr>
                        <a:t>22</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gridSpan="4">
                  <a:txBody>
                    <a:bodyPr/>
                    <a:lstStyle/>
                    <a:p>
                      <a:pPr algn="ctr" fontAlgn="b"/>
                      <a:r>
                        <a:rPr lang="fr-FR" sz="1400" b="1" i="0" u="none" strike="noStrike">
                          <a:solidFill>
                            <a:srgbClr val="FFFFFF"/>
                          </a:solidFill>
                          <a:effectLst/>
                          <a:latin typeface="Calibri" panose="020F0502020204030204" pitchFamily="34" charset="0"/>
                        </a:rPr>
                        <a:t>2023</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hMerge="1">
                  <a:txBody>
                    <a:bodyPr/>
                    <a:lstStyle/>
                    <a:p>
                      <a:endParaRPr lang="fr-FR"/>
                    </a:p>
                  </a:txBody>
                  <a:tcPr/>
                </a:tc>
                <a:tc hMerge="1">
                  <a:txBody>
                    <a:bodyPr/>
                    <a:lstStyle/>
                    <a:p>
                      <a:endParaRPr lang="fr-FR"/>
                    </a:p>
                  </a:txBody>
                  <a:tcPr/>
                </a:tc>
                <a:tc hMerge="1">
                  <a:txBody>
                    <a:bodyPr/>
                    <a:lstStyle/>
                    <a:p>
                      <a:endParaRPr lang="fr-FR"/>
                    </a:p>
                  </a:txBody>
                  <a:tcPr/>
                </a:tc>
                <a:tc gridSpan="4">
                  <a:txBody>
                    <a:bodyPr/>
                    <a:lstStyle/>
                    <a:p>
                      <a:pPr algn="ctr" fontAlgn="ctr"/>
                      <a:r>
                        <a:rPr lang="fr-FR" sz="1400" b="1" i="0" u="none" strike="noStrike">
                          <a:solidFill>
                            <a:srgbClr val="FFFFFF"/>
                          </a:solidFill>
                          <a:effectLst/>
                          <a:latin typeface="Arial" panose="020B0604020202020204" pitchFamily="34" charset="0"/>
                        </a:rPr>
                        <a:t>2024</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228332966"/>
                  </a:ext>
                </a:extLst>
              </a:tr>
              <a:tr h="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b"/>
                      <a:r>
                        <a:rPr lang="fr-FR" sz="1400" b="1" i="0" u="none" strike="noStrike" dirty="0">
                          <a:solidFill>
                            <a:srgbClr val="FFFFFF"/>
                          </a:solidFill>
                          <a:effectLst/>
                          <a:latin typeface="Calibri" panose="020F0502020204030204" pitchFamily="34" charset="0"/>
                        </a:rPr>
                        <a:t>4</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1</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2</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3</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4</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1</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2</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3</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4</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extLst>
                  <a:ext uri="{0D108BD9-81ED-4DB2-BD59-A6C34878D82A}">
                    <a16:rowId xmlns:a16="http://schemas.microsoft.com/office/drawing/2014/main" val="2526352917"/>
                  </a:ext>
                </a:extLst>
              </a:tr>
              <a:tr h="267613">
                <a:tc rowSpan="6">
                  <a:txBody>
                    <a:bodyPr/>
                    <a:lstStyle/>
                    <a:p>
                      <a:pPr algn="l" fontAlgn="ctr"/>
                      <a:r>
                        <a:rPr lang="fr-FR" sz="1400" b="1" i="0" u="none" strike="noStrike">
                          <a:solidFill>
                            <a:srgbClr val="404040"/>
                          </a:solidFill>
                          <a:effectLst/>
                          <a:latin typeface="Arial" panose="020B0604020202020204" pitchFamily="34" charset="0"/>
                        </a:rPr>
                        <a:t>Mettre en place un cadre juridique sur les BE</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Validation des recommandation et des options proposées dans l'étude sur la PE</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Les options à retenir sont débattues et validées par le Comité ITIE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mite ITIE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423832"/>
                  </a:ext>
                </a:extLst>
              </a:tr>
              <a:tr h="401419">
                <a:tc vMerge="1">
                  <a:txBody>
                    <a:bodyPr/>
                    <a:lstStyle/>
                    <a:p>
                      <a:endParaRPr lang="fr-FR"/>
                    </a:p>
                  </a:txBody>
                  <a:tcPr/>
                </a:tc>
                <a:tc>
                  <a:txBody>
                    <a:bodyPr/>
                    <a:lstStyle/>
                    <a:p>
                      <a:pPr algn="l" fontAlgn="ctr"/>
                      <a:r>
                        <a:rPr lang="fr-FR" sz="1400" b="0" i="0" u="none" strike="noStrike">
                          <a:solidFill>
                            <a:srgbClr val="404040"/>
                          </a:solidFill>
                          <a:effectLst/>
                          <a:latin typeface="Arial" panose="020B0604020202020204" pitchFamily="34" charset="0"/>
                        </a:rPr>
                        <a:t>Organisation d'un atelier national sur la divulgation des données sur les PE</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Sensibiliser les parties prenantes les avantages de la mise en œuvre de l'exigence 2.5 et les colclusions de l'étude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dirty="0">
                          <a:solidFill>
                            <a:srgbClr val="404040"/>
                          </a:solidFill>
                          <a:effectLst/>
                          <a:latin typeface="Arial" panose="020B0604020202020204" pitchFamily="34" charset="0"/>
                        </a:rPr>
                        <a:t>GMC, Ministère de la Justice, Ministère des Finances, ANIF, DGI, DGH, DGMG…</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8268051"/>
                  </a:ext>
                </a:extLst>
              </a:tr>
              <a:tr h="401419">
                <a:tc vMerge="1">
                  <a:txBody>
                    <a:bodyPr/>
                    <a:lstStyle/>
                    <a:p>
                      <a:endParaRPr lang="fr-FR"/>
                    </a:p>
                  </a:txBody>
                  <a:tcPr/>
                </a:tc>
                <a:tc>
                  <a:txBody>
                    <a:bodyPr/>
                    <a:lstStyle/>
                    <a:p>
                      <a:pPr algn="l" fontAlgn="ctr"/>
                      <a:r>
                        <a:rPr lang="fr-FR" sz="1400" b="0" i="0" u="none" strike="noStrike">
                          <a:solidFill>
                            <a:srgbClr val="404040"/>
                          </a:solidFill>
                          <a:effectLst/>
                          <a:latin typeface="Arial" panose="020B0604020202020204" pitchFamily="34" charset="0"/>
                        </a:rPr>
                        <a:t>Constitution d’un groupe de travail/comité interministériel (Ministère de la Justice, Ministère des Finances, Comite ITIE )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Mettre en place d’un cadre de concertation pour l’élaboration d’un cadre juridique sur la divulgation des données sur les BE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mité ITIE, Ministère des finances, Ministère des finances</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3153673"/>
                  </a:ext>
                </a:extLst>
              </a:tr>
              <a:tr h="425032">
                <a:tc vMerge="1">
                  <a:txBody>
                    <a:bodyPr/>
                    <a:lstStyle/>
                    <a:p>
                      <a:endParaRPr lang="fr-FR"/>
                    </a:p>
                  </a:txBody>
                  <a:tcPr/>
                </a:tc>
                <a:tc>
                  <a:txBody>
                    <a:bodyPr/>
                    <a:lstStyle/>
                    <a:p>
                      <a:pPr algn="l" fontAlgn="ctr"/>
                      <a:r>
                        <a:rPr lang="fr-FR" sz="1400" b="0" i="0" u="none" strike="noStrike">
                          <a:solidFill>
                            <a:srgbClr val="404040"/>
                          </a:solidFill>
                          <a:effectLst/>
                          <a:latin typeface="Arial" panose="020B0604020202020204" pitchFamily="34" charset="0"/>
                        </a:rPr>
                        <a:t>Rédaction et proposition d’un projet texte portant mise en place d'un regsitre public des BE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Un projet de texte prenant en compte les exigences minimales de la Norme ITIE est rédigé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mité ITIE, Ministère de la Justice, Ministère des finances…</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2598501"/>
                  </a:ext>
                </a:extLst>
              </a:tr>
              <a:tr h="511612">
                <a:tc vMerge="1">
                  <a:txBody>
                    <a:bodyPr/>
                    <a:lstStyle/>
                    <a:p>
                      <a:endParaRPr lang="fr-FR"/>
                    </a:p>
                  </a:txBody>
                  <a:tcPr/>
                </a:tc>
                <a:tc>
                  <a:txBody>
                    <a:bodyPr/>
                    <a:lstStyle/>
                    <a:p>
                      <a:pPr algn="l" fontAlgn="ctr"/>
                      <a:r>
                        <a:rPr lang="fr-FR" sz="1400" b="0" i="0" u="none" strike="noStrike">
                          <a:solidFill>
                            <a:srgbClr val="404040"/>
                          </a:solidFill>
                          <a:effectLst/>
                          <a:latin typeface="Arial" panose="020B0604020202020204" pitchFamily="34" charset="0"/>
                        </a:rPr>
                        <a:t>Organisation d'ateliers de validation du projet de texte par les parties prenantes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Un projet de texte prenant en compte les commentaires et les recommndations des paries prenantes soumis à l'approbation du  Comité Ministériel</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mité ITIE, Ministère de la Justice, Ministère des Finances, ANIF, DGI, DGH, DGMG, CONAC, DMP, SNH…</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3994088"/>
                  </a:ext>
                </a:extLst>
              </a:tr>
              <a:tr h="259742">
                <a:tc vMerge="1">
                  <a:txBody>
                    <a:bodyPr/>
                    <a:lstStyle/>
                    <a:p>
                      <a:endParaRPr lang="fr-FR"/>
                    </a:p>
                  </a:txBody>
                  <a:tcPr/>
                </a:tc>
                <a:tc>
                  <a:txBody>
                    <a:bodyPr/>
                    <a:lstStyle/>
                    <a:p>
                      <a:pPr algn="l" fontAlgn="ctr"/>
                      <a:r>
                        <a:rPr lang="fr-FR" sz="1400" b="0" i="0" u="none" strike="noStrike">
                          <a:solidFill>
                            <a:srgbClr val="404040"/>
                          </a:solidFill>
                          <a:effectLst/>
                          <a:latin typeface="Arial" panose="020B0604020202020204" pitchFamily="34" charset="0"/>
                        </a:rPr>
                        <a:t>Approbation et publication du texte</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Texte d'application des dispositions de PLF tenant en compte des exigences ITIE publié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mité interministeriel</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9526553"/>
                  </a:ext>
                </a:extLst>
              </a:tr>
            </a:tbl>
          </a:graphicData>
        </a:graphic>
      </p:graphicFrame>
    </p:spTree>
    <p:extLst>
      <p:ext uri="{BB962C8B-B14F-4D97-AF65-F5344CB8AC3E}">
        <p14:creationId xmlns:p14="http://schemas.microsoft.com/office/powerpoint/2010/main" val="24275025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a:bodyPr>
          <a:lstStyle/>
          <a:p>
            <a:r>
              <a:rPr lang="fr-FR" sz="3500" b="1" dirty="0">
                <a:solidFill>
                  <a:srgbClr val="61BC4D"/>
                </a:solidFill>
                <a:latin typeface="Kohinoor Devanagari" panose="02000000000000000000" pitchFamily="50" charset="0"/>
              </a:rPr>
              <a:t>Plan de mise en œuvre</a:t>
            </a: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29</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3" name="Tableau 2">
            <a:extLst>
              <a:ext uri="{FF2B5EF4-FFF2-40B4-BE49-F238E27FC236}">
                <a16:creationId xmlns:a16="http://schemas.microsoft.com/office/drawing/2014/main" id="{048C14D7-C526-6FE7-6A1D-9CE37A95B232}"/>
              </a:ext>
            </a:extLst>
          </p:cNvPr>
          <p:cNvGraphicFramePr>
            <a:graphicFrameLocks noGrp="1"/>
          </p:cNvGraphicFramePr>
          <p:nvPr>
            <p:extLst>
              <p:ext uri="{D42A27DB-BD31-4B8C-83A1-F6EECF244321}">
                <p14:modId xmlns:p14="http://schemas.microsoft.com/office/powerpoint/2010/main" val="1176793195"/>
              </p:ext>
            </p:extLst>
          </p:nvPr>
        </p:nvGraphicFramePr>
        <p:xfrm>
          <a:off x="571501" y="1235455"/>
          <a:ext cx="11048998" cy="5413668"/>
        </p:xfrm>
        <a:graphic>
          <a:graphicData uri="http://schemas.openxmlformats.org/drawingml/2006/table">
            <a:tbl>
              <a:tblPr/>
              <a:tblGrid>
                <a:gridCol w="3371850">
                  <a:extLst>
                    <a:ext uri="{9D8B030D-6E8A-4147-A177-3AD203B41FA5}">
                      <a16:colId xmlns:a16="http://schemas.microsoft.com/office/drawing/2014/main" val="1918258161"/>
                    </a:ext>
                  </a:extLst>
                </a:gridCol>
                <a:gridCol w="2943225">
                  <a:extLst>
                    <a:ext uri="{9D8B030D-6E8A-4147-A177-3AD203B41FA5}">
                      <a16:colId xmlns:a16="http://schemas.microsoft.com/office/drawing/2014/main" val="3906956613"/>
                    </a:ext>
                  </a:extLst>
                </a:gridCol>
                <a:gridCol w="2230104">
                  <a:extLst>
                    <a:ext uri="{9D8B030D-6E8A-4147-A177-3AD203B41FA5}">
                      <a16:colId xmlns:a16="http://schemas.microsoft.com/office/drawing/2014/main" val="1987262275"/>
                    </a:ext>
                  </a:extLst>
                </a:gridCol>
                <a:gridCol w="321876">
                  <a:extLst>
                    <a:ext uri="{9D8B030D-6E8A-4147-A177-3AD203B41FA5}">
                      <a16:colId xmlns:a16="http://schemas.microsoft.com/office/drawing/2014/main" val="3708413537"/>
                    </a:ext>
                  </a:extLst>
                </a:gridCol>
                <a:gridCol w="287831">
                  <a:extLst>
                    <a:ext uri="{9D8B030D-6E8A-4147-A177-3AD203B41FA5}">
                      <a16:colId xmlns:a16="http://schemas.microsoft.com/office/drawing/2014/main" val="753141941"/>
                    </a:ext>
                  </a:extLst>
                </a:gridCol>
                <a:gridCol w="287831">
                  <a:extLst>
                    <a:ext uri="{9D8B030D-6E8A-4147-A177-3AD203B41FA5}">
                      <a16:colId xmlns:a16="http://schemas.microsoft.com/office/drawing/2014/main" val="1911919916"/>
                    </a:ext>
                  </a:extLst>
                </a:gridCol>
                <a:gridCol w="287831">
                  <a:extLst>
                    <a:ext uri="{9D8B030D-6E8A-4147-A177-3AD203B41FA5}">
                      <a16:colId xmlns:a16="http://schemas.microsoft.com/office/drawing/2014/main" val="3629224282"/>
                    </a:ext>
                  </a:extLst>
                </a:gridCol>
                <a:gridCol w="250691">
                  <a:extLst>
                    <a:ext uri="{9D8B030D-6E8A-4147-A177-3AD203B41FA5}">
                      <a16:colId xmlns:a16="http://schemas.microsoft.com/office/drawing/2014/main" val="1385938016"/>
                    </a:ext>
                  </a:extLst>
                </a:gridCol>
                <a:gridCol w="315686">
                  <a:extLst>
                    <a:ext uri="{9D8B030D-6E8A-4147-A177-3AD203B41FA5}">
                      <a16:colId xmlns:a16="http://schemas.microsoft.com/office/drawing/2014/main" val="425397699"/>
                    </a:ext>
                  </a:extLst>
                </a:gridCol>
                <a:gridCol w="250691">
                  <a:extLst>
                    <a:ext uri="{9D8B030D-6E8A-4147-A177-3AD203B41FA5}">
                      <a16:colId xmlns:a16="http://schemas.microsoft.com/office/drawing/2014/main" val="3191451310"/>
                    </a:ext>
                  </a:extLst>
                </a:gridCol>
                <a:gridCol w="250691">
                  <a:extLst>
                    <a:ext uri="{9D8B030D-6E8A-4147-A177-3AD203B41FA5}">
                      <a16:colId xmlns:a16="http://schemas.microsoft.com/office/drawing/2014/main" val="1426234704"/>
                    </a:ext>
                  </a:extLst>
                </a:gridCol>
                <a:gridCol w="250691">
                  <a:extLst>
                    <a:ext uri="{9D8B030D-6E8A-4147-A177-3AD203B41FA5}">
                      <a16:colId xmlns:a16="http://schemas.microsoft.com/office/drawing/2014/main" val="3991040512"/>
                    </a:ext>
                  </a:extLst>
                </a:gridCol>
              </a:tblGrid>
              <a:tr h="177030">
                <a:tc rowSpan="2">
                  <a:txBody>
                    <a:bodyPr/>
                    <a:lstStyle/>
                    <a:p>
                      <a:pPr algn="ctr" fontAlgn="ctr"/>
                      <a:r>
                        <a:rPr lang="fr-FR" sz="1400" b="1" i="0" u="none" strike="noStrike">
                          <a:solidFill>
                            <a:srgbClr val="FFFFFF"/>
                          </a:solidFill>
                          <a:effectLst/>
                          <a:latin typeface="Arial" panose="020B0604020202020204" pitchFamily="34" charset="0"/>
                        </a:rPr>
                        <a:t>Activités/actions</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rowSpan="2">
                  <a:txBody>
                    <a:bodyPr/>
                    <a:lstStyle/>
                    <a:p>
                      <a:pPr algn="ctr" fontAlgn="ctr"/>
                      <a:r>
                        <a:rPr lang="fr-FR" sz="1400" b="1" i="0" u="none" strike="noStrike">
                          <a:solidFill>
                            <a:srgbClr val="FFFFFF"/>
                          </a:solidFill>
                          <a:effectLst/>
                          <a:latin typeface="Arial" panose="020B0604020202020204" pitchFamily="34" charset="0"/>
                        </a:rPr>
                        <a:t>Objectif /Résultat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rowSpan="2">
                  <a:txBody>
                    <a:bodyPr/>
                    <a:lstStyle/>
                    <a:p>
                      <a:pPr algn="ctr" fontAlgn="ctr"/>
                      <a:r>
                        <a:rPr lang="fr-FR" sz="1400" b="1" i="0" u="none" strike="noStrike">
                          <a:solidFill>
                            <a:srgbClr val="FFFFFF"/>
                          </a:solidFill>
                          <a:effectLst/>
                          <a:latin typeface="Arial" panose="020B0604020202020204" pitchFamily="34" charset="0"/>
                        </a:rPr>
                        <a:t>Partie prenantes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ctr"/>
                      <a:r>
                        <a:rPr lang="fr-FR" sz="1400" b="1" i="0" u="none" strike="noStrike" dirty="0">
                          <a:solidFill>
                            <a:srgbClr val="FFFFFF"/>
                          </a:solidFill>
                          <a:effectLst/>
                          <a:latin typeface="Arial" panose="020B0604020202020204" pitchFamily="34" charset="0"/>
                        </a:rPr>
                        <a:t>22</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gridSpan="4">
                  <a:txBody>
                    <a:bodyPr/>
                    <a:lstStyle/>
                    <a:p>
                      <a:pPr algn="ctr" fontAlgn="b"/>
                      <a:r>
                        <a:rPr lang="fr-FR" sz="1400" b="1" i="0" u="none" strike="noStrike">
                          <a:solidFill>
                            <a:srgbClr val="FFFFFF"/>
                          </a:solidFill>
                          <a:effectLst/>
                          <a:latin typeface="Calibri" panose="020F0502020204030204" pitchFamily="34" charset="0"/>
                        </a:rPr>
                        <a:t>2023</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hMerge="1">
                  <a:txBody>
                    <a:bodyPr/>
                    <a:lstStyle/>
                    <a:p>
                      <a:endParaRPr lang="fr-FR"/>
                    </a:p>
                  </a:txBody>
                  <a:tcPr/>
                </a:tc>
                <a:tc hMerge="1">
                  <a:txBody>
                    <a:bodyPr/>
                    <a:lstStyle/>
                    <a:p>
                      <a:endParaRPr lang="fr-FR"/>
                    </a:p>
                  </a:txBody>
                  <a:tcPr/>
                </a:tc>
                <a:tc hMerge="1">
                  <a:txBody>
                    <a:bodyPr/>
                    <a:lstStyle/>
                    <a:p>
                      <a:endParaRPr lang="fr-FR"/>
                    </a:p>
                  </a:txBody>
                  <a:tcPr/>
                </a:tc>
                <a:tc gridSpan="4">
                  <a:txBody>
                    <a:bodyPr/>
                    <a:lstStyle/>
                    <a:p>
                      <a:pPr algn="ctr" fontAlgn="ctr"/>
                      <a:r>
                        <a:rPr lang="fr-FR" sz="1400" b="1" i="0" u="none" strike="noStrike">
                          <a:solidFill>
                            <a:srgbClr val="FFFFFF"/>
                          </a:solidFill>
                          <a:effectLst/>
                          <a:latin typeface="Arial" panose="020B0604020202020204" pitchFamily="34" charset="0"/>
                        </a:rPr>
                        <a:t>2024</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647729934"/>
                  </a:ext>
                </a:extLst>
              </a:tr>
              <a:tr h="177030">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b"/>
                      <a:r>
                        <a:rPr lang="fr-FR" sz="1400" b="1" i="0" u="none" strike="noStrike" dirty="0">
                          <a:solidFill>
                            <a:srgbClr val="FFFFFF"/>
                          </a:solidFill>
                          <a:effectLst/>
                          <a:latin typeface="Calibri" panose="020F0502020204030204" pitchFamily="34" charset="0"/>
                        </a:rPr>
                        <a:t>4</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1</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2</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3</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4</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1</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2</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3</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dirty="0">
                          <a:solidFill>
                            <a:srgbClr val="FFFFFF"/>
                          </a:solidFill>
                          <a:effectLst/>
                          <a:latin typeface="Calibri" panose="020F0502020204030204" pitchFamily="34" charset="0"/>
                        </a:rPr>
                        <a:t>4</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extLst>
                  <a:ext uri="{0D108BD9-81ED-4DB2-BD59-A6C34878D82A}">
                    <a16:rowId xmlns:a16="http://schemas.microsoft.com/office/drawing/2014/main" val="2003477675"/>
                  </a:ext>
                </a:extLst>
              </a:tr>
              <a:tr h="300951">
                <a:tc>
                  <a:txBody>
                    <a:bodyPr/>
                    <a:lstStyle/>
                    <a:p>
                      <a:pPr algn="l" fontAlgn="ctr"/>
                      <a:r>
                        <a:rPr lang="fr-FR" sz="1400" b="0" i="0" u="none" strike="noStrike">
                          <a:solidFill>
                            <a:srgbClr val="404040"/>
                          </a:solidFill>
                          <a:effectLst/>
                          <a:latin typeface="Arial" panose="020B0604020202020204" pitchFamily="34" charset="0"/>
                        </a:rPr>
                        <a:t>Conception du modèle de déclaration et d'un guide destiné aux entreprises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dirty="0">
                          <a:solidFill>
                            <a:srgbClr val="404040"/>
                          </a:solidFill>
                          <a:effectLst/>
                          <a:latin typeface="Arial" panose="020B0604020202020204" pitchFamily="34" charset="0"/>
                        </a:rPr>
                        <a:t>Modèle de déclaration et guide approuvé</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nsultant/Entité retenue pour la gestion du registre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5223562"/>
                  </a:ext>
                </a:extLst>
              </a:tr>
              <a:tr h="451427">
                <a:tc>
                  <a:txBody>
                    <a:bodyPr/>
                    <a:lstStyle/>
                    <a:p>
                      <a:pPr algn="l" fontAlgn="ctr"/>
                      <a:r>
                        <a:rPr lang="fr-FR" sz="1400" b="0" i="0" u="none" strike="noStrike">
                          <a:solidFill>
                            <a:srgbClr val="404040"/>
                          </a:solidFill>
                          <a:effectLst/>
                          <a:latin typeface="Arial" panose="020B0604020202020204" pitchFamily="34" charset="0"/>
                        </a:rPr>
                        <a:t>Renforcement de capacité des administrations sur le modèle de déclaration et la vérification des données sur les BE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apacités renforcées des parties prenantes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nsultant, DGI, RCCM,ANIF, DGI, DGH, DGMG, DMP..</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9879521"/>
                  </a:ext>
                </a:extLst>
              </a:tr>
              <a:tr h="601903">
                <a:tc>
                  <a:txBody>
                    <a:bodyPr/>
                    <a:lstStyle/>
                    <a:p>
                      <a:pPr algn="l" fontAlgn="ctr"/>
                      <a:r>
                        <a:rPr lang="fr-FR" sz="1400" b="0" i="0" u="none" strike="noStrike">
                          <a:solidFill>
                            <a:srgbClr val="404040"/>
                          </a:solidFill>
                          <a:effectLst/>
                          <a:latin typeface="Arial" panose="020B0604020202020204" pitchFamily="34" charset="0"/>
                        </a:rPr>
                        <a:t>Elaboration du cahier de spécifications du registre publique des BE pour le secteur des IE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ahier des charges /TDR validé du regsire prenant en compte (i) la divilgation des données en format ouvert, (ii) un systéme de télé déclaration  et (iii) l'intéraopérabilié avec les autres registres nationaux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nsultant/Entité retenue pour la gestion du registre, Comité ITIE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3460668"/>
                  </a:ext>
                </a:extLst>
              </a:tr>
              <a:tr h="325736">
                <a:tc>
                  <a:txBody>
                    <a:bodyPr/>
                    <a:lstStyle/>
                    <a:p>
                      <a:pPr algn="l" fontAlgn="ctr"/>
                      <a:r>
                        <a:rPr lang="fr-FR" sz="1400" b="0" i="0" u="none" strike="noStrike">
                          <a:solidFill>
                            <a:srgbClr val="404040"/>
                          </a:solidFill>
                          <a:effectLst/>
                          <a:latin typeface="Arial" panose="020B0604020202020204" pitchFamily="34" charset="0"/>
                        </a:rPr>
                        <a:t>Mise en place de la plateforme pour l’hébergement du registre des B.E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fr-FR" sz="1400" b="0" i="0" u="none" strike="noStrike">
                          <a:solidFill>
                            <a:srgbClr val="404040"/>
                          </a:solidFill>
                          <a:effectLst/>
                          <a:latin typeface="Arial" panose="020B0604020202020204" pitchFamily="34" charset="0"/>
                        </a:rPr>
                        <a:t>Registre electronique déployé</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nsultant/Entité retenue pour la gestion du registre, Comité ITIE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3846657"/>
                  </a:ext>
                </a:extLst>
              </a:tr>
              <a:tr h="325736">
                <a:tc>
                  <a:txBody>
                    <a:bodyPr/>
                    <a:lstStyle/>
                    <a:p>
                      <a:pPr algn="l" fontAlgn="ctr"/>
                      <a:r>
                        <a:rPr lang="fr-FR" sz="1400" b="0" i="0" u="none" strike="noStrike">
                          <a:solidFill>
                            <a:srgbClr val="404040"/>
                          </a:solidFill>
                          <a:effectLst/>
                          <a:latin typeface="Arial" panose="020B0604020202020204" pitchFamily="34" charset="0"/>
                        </a:rPr>
                        <a:t>Interconnexion du registre des BE avec les autres registres nationaux</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fr-FR" sz="1400" b="0" i="0" u="none" strike="noStrike">
                          <a:solidFill>
                            <a:srgbClr val="404040"/>
                          </a:solidFill>
                          <a:effectLst/>
                          <a:latin typeface="Arial" panose="020B0604020202020204" pitchFamily="34" charset="0"/>
                        </a:rPr>
                        <a:t>Registres interconnectés et protocole d’échange de données en place</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nsultant/Entité retenue pour la gestion du registre, Comité ITIE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5118316"/>
                  </a:ext>
                </a:extLst>
              </a:tr>
              <a:tr h="300951">
                <a:tc>
                  <a:txBody>
                    <a:bodyPr/>
                    <a:lstStyle/>
                    <a:p>
                      <a:pPr algn="l" fontAlgn="ctr"/>
                      <a:r>
                        <a:rPr lang="fr-FR" sz="1400" b="0" i="0" u="none" strike="noStrike" dirty="0">
                          <a:solidFill>
                            <a:srgbClr val="404040"/>
                          </a:solidFill>
                          <a:effectLst/>
                          <a:latin typeface="Arial" panose="020B0604020202020204" pitchFamily="34" charset="0"/>
                        </a:rPr>
                        <a:t>Elaboration d’un Manuel adapté aux nouveaux textes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fr-FR" sz="1400" b="0" i="0" u="none" strike="noStrike">
                          <a:solidFill>
                            <a:srgbClr val="404040"/>
                          </a:solidFill>
                          <a:effectLst/>
                          <a:latin typeface="Arial" panose="020B0604020202020204" pitchFamily="34" charset="0"/>
                        </a:rPr>
                        <a:t>Parties prenantes formés sur l'utilisation du registre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Consultant/Entité retenue pour la gestion du registre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2745056"/>
                  </a:ext>
                </a:extLst>
              </a:tr>
              <a:tr h="414251">
                <a:tc>
                  <a:txBody>
                    <a:bodyPr/>
                    <a:lstStyle/>
                    <a:p>
                      <a:pPr algn="l" fontAlgn="ctr"/>
                      <a:r>
                        <a:rPr lang="fr-FR" sz="1400" b="0" i="0" u="none" strike="noStrike">
                          <a:solidFill>
                            <a:srgbClr val="404040"/>
                          </a:solidFill>
                          <a:effectLst/>
                          <a:latin typeface="Arial" panose="020B0604020202020204" pitchFamily="34" charset="0"/>
                        </a:rPr>
                        <a:t>Mettre en place un comité de suivi et d'évaluation</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Production et publication de rapports périodiques sur l’exhaustivité et qualité des données divulguées  </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Entité retenue pour la gestion du registre, Comité ITIE</a:t>
                      </a:r>
                    </a:p>
                  </a:txBody>
                  <a:tcPr marL="8852" marR="8852" marT="88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p>
                  </a:txBody>
                  <a:tcPr marL="8852" marR="8852" marT="8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0349284"/>
                  </a:ext>
                </a:extLst>
              </a:tr>
            </a:tbl>
          </a:graphicData>
        </a:graphic>
      </p:graphicFrame>
    </p:spTree>
    <p:extLst>
      <p:ext uri="{BB962C8B-B14F-4D97-AF65-F5344CB8AC3E}">
        <p14:creationId xmlns:p14="http://schemas.microsoft.com/office/powerpoint/2010/main" val="1244890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C55F823-BC8D-4099-BD4B-BF1AB9C2E899}"/>
              </a:ext>
            </a:extLst>
          </p:cNvPr>
          <p:cNvGraphicFramePr>
            <a:graphicFrameLocks noChangeAspect="1"/>
          </p:cNvGraphicFramePr>
          <p:nvPr>
            <p:custDataLst>
              <p:tags r:id="rId1"/>
            </p:custDataLst>
          </p:nvPr>
        </p:nvGraphicFramePr>
        <p:xfrm>
          <a:off x="768585" y="2044"/>
          <a:ext cx="2044" cy="2044"/>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4" name="Objet 3" hidden="1">
                        <a:extLst>
                          <a:ext uri="{FF2B5EF4-FFF2-40B4-BE49-F238E27FC236}">
                            <a16:creationId xmlns:a16="http://schemas.microsoft.com/office/drawing/2014/main" id="{1C55F823-BC8D-4099-BD4B-BF1AB9C2E899}"/>
                          </a:ext>
                        </a:extLst>
                      </p:cNvPr>
                      <p:cNvPicPr/>
                      <p:nvPr/>
                    </p:nvPicPr>
                    <p:blipFill>
                      <a:blip r:embed="rId5"/>
                      <a:stretch>
                        <a:fillRect/>
                      </a:stretch>
                    </p:blipFill>
                    <p:spPr>
                      <a:xfrm>
                        <a:off x="768585" y="2044"/>
                        <a:ext cx="2044" cy="2044"/>
                      </a:xfrm>
                      <a:prstGeom prst="rect">
                        <a:avLst/>
                      </a:prstGeom>
                    </p:spPr>
                  </p:pic>
                </p:oleObj>
              </mc:Fallback>
            </mc:AlternateContent>
          </a:graphicData>
        </a:graphic>
      </p:graphicFrame>
      <p:sp>
        <p:nvSpPr>
          <p:cNvPr id="3" name="ZoneTexte 2">
            <a:extLst>
              <a:ext uri="{FF2B5EF4-FFF2-40B4-BE49-F238E27FC236}">
                <a16:creationId xmlns:a16="http://schemas.microsoft.com/office/drawing/2014/main" id="{B0262F37-0681-4BD1-8ED1-0B5A907E86C9}"/>
              </a:ext>
            </a:extLst>
          </p:cNvPr>
          <p:cNvSpPr txBox="1"/>
          <p:nvPr/>
        </p:nvSpPr>
        <p:spPr>
          <a:xfrm>
            <a:off x="236234" y="2799002"/>
            <a:ext cx="5290326" cy="769441"/>
          </a:xfrm>
          <a:prstGeom prst="rect">
            <a:avLst/>
          </a:prstGeom>
          <a:solidFill>
            <a:srgbClr val="404040"/>
          </a:solidFill>
        </p:spPr>
        <p:txBody>
          <a:bodyPr wrap="square" rtlCol="0">
            <a:spAutoFit/>
          </a:bodyPr>
          <a:lstStyle/>
          <a:p>
            <a:pPr marL="857250" indent="-857250">
              <a:buFont typeface="+mj-lt"/>
              <a:buAutoNum type="romanUcPeriod" startAt="3"/>
            </a:pPr>
            <a:r>
              <a:rPr lang="fr-FR" sz="4400" b="1" dirty="0">
                <a:solidFill>
                  <a:schemeClr val="bg1"/>
                </a:solidFill>
              </a:rPr>
              <a:t>Opportunités </a:t>
            </a:r>
          </a:p>
        </p:txBody>
      </p:sp>
      <p:pic>
        <p:nvPicPr>
          <p:cNvPr id="5" name="Picture 12" descr="A picture containing text, clipart&#10;&#10;Description automatically generated">
            <a:extLst>
              <a:ext uri="{FF2B5EF4-FFF2-40B4-BE49-F238E27FC236}">
                <a16:creationId xmlns:a16="http://schemas.microsoft.com/office/drawing/2014/main" id="{B3C7C647-B058-71B4-B600-4F5C30ACABC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24469" y="6129726"/>
            <a:ext cx="2363098" cy="365125"/>
          </a:xfrm>
          <a:prstGeom prst="rect">
            <a:avLst/>
          </a:prstGeom>
        </p:spPr>
      </p:pic>
    </p:spTree>
    <p:extLst>
      <p:ext uri="{BB962C8B-B14F-4D97-AF65-F5344CB8AC3E}">
        <p14:creationId xmlns:p14="http://schemas.microsoft.com/office/powerpoint/2010/main" val="35246012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a:bodyPr>
          <a:lstStyle/>
          <a:p>
            <a:r>
              <a:rPr lang="fr-FR" sz="3500" b="1" dirty="0">
                <a:solidFill>
                  <a:srgbClr val="61BC4D"/>
                </a:solidFill>
                <a:latin typeface="Kohinoor Devanagari" panose="02000000000000000000" pitchFamily="50" charset="0"/>
              </a:rPr>
              <a:t>Plan de mise en œuvre</a:t>
            </a:r>
            <a:endParaRPr lang="fr-FR" sz="2700" b="1" dirty="0">
              <a:solidFill>
                <a:srgbClr val="FF0000"/>
              </a:solidFill>
              <a:latin typeface="Kohinoor Devanagari" panose="02000000000000000000" pitchFamily="50" charset="0"/>
            </a:endParaRP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30</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graphicFrame>
        <p:nvGraphicFramePr>
          <p:cNvPr id="4" name="Tableau 3">
            <a:extLst>
              <a:ext uri="{FF2B5EF4-FFF2-40B4-BE49-F238E27FC236}">
                <a16:creationId xmlns:a16="http://schemas.microsoft.com/office/drawing/2014/main" id="{AC3EF502-386F-00D5-BE7F-60D4DF7072A4}"/>
              </a:ext>
            </a:extLst>
          </p:cNvPr>
          <p:cNvGraphicFramePr>
            <a:graphicFrameLocks noGrp="1"/>
          </p:cNvGraphicFramePr>
          <p:nvPr>
            <p:extLst>
              <p:ext uri="{D42A27DB-BD31-4B8C-83A1-F6EECF244321}">
                <p14:modId xmlns:p14="http://schemas.microsoft.com/office/powerpoint/2010/main" val="347788324"/>
              </p:ext>
            </p:extLst>
          </p:nvPr>
        </p:nvGraphicFramePr>
        <p:xfrm>
          <a:off x="491331" y="1612663"/>
          <a:ext cx="11367296" cy="4306555"/>
        </p:xfrm>
        <a:graphic>
          <a:graphicData uri="http://schemas.openxmlformats.org/drawingml/2006/table">
            <a:tbl>
              <a:tblPr/>
              <a:tblGrid>
                <a:gridCol w="1585119">
                  <a:extLst>
                    <a:ext uri="{9D8B030D-6E8A-4147-A177-3AD203B41FA5}">
                      <a16:colId xmlns:a16="http://schemas.microsoft.com/office/drawing/2014/main" val="4055447083"/>
                    </a:ext>
                  </a:extLst>
                </a:gridCol>
                <a:gridCol w="3293926">
                  <a:extLst>
                    <a:ext uri="{9D8B030D-6E8A-4147-A177-3AD203B41FA5}">
                      <a16:colId xmlns:a16="http://schemas.microsoft.com/office/drawing/2014/main" val="3023823002"/>
                    </a:ext>
                  </a:extLst>
                </a:gridCol>
                <a:gridCol w="2625671">
                  <a:extLst>
                    <a:ext uri="{9D8B030D-6E8A-4147-A177-3AD203B41FA5}">
                      <a16:colId xmlns:a16="http://schemas.microsoft.com/office/drawing/2014/main" val="3610435621"/>
                    </a:ext>
                  </a:extLst>
                </a:gridCol>
                <a:gridCol w="1881078">
                  <a:extLst>
                    <a:ext uri="{9D8B030D-6E8A-4147-A177-3AD203B41FA5}">
                      <a16:colId xmlns:a16="http://schemas.microsoft.com/office/drawing/2014/main" val="1969048180"/>
                    </a:ext>
                  </a:extLst>
                </a:gridCol>
                <a:gridCol w="254730">
                  <a:extLst>
                    <a:ext uri="{9D8B030D-6E8A-4147-A177-3AD203B41FA5}">
                      <a16:colId xmlns:a16="http://schemas.microsoft.com/office/drawing/2014/main" val="2101509832"/>
                    </a:ext>
                  </a:extLst>
                </a:gridCol>
                <a:gridCol w="227787">
                  <a:extLst>
                    <a:ext uri="{9D8B030D-6E8A-4147-A177-3AD203B41FA5}">
                      <a16:colId xmlns:a16="http://schemas.microsoft.com/office/drawing/2014/main" val="757664164"/>
                    </a:ext>
                  </a:extLst>
                </a:gridCol>
                <a:gridCol w="227787">
                  <a:extLst>
                    <a:ext uri="{9D8B030D-6E8A-4147-A177-3AD203B41FA5}">
                      <a16:colId xmlns:a16="http://schemas.microsoft.com/office/drawing/2014/main" val="4233064471"/>
                    </a:ext>
                  </a:extLst>
                </a:gridCol>
                <a:gridCol w="227787">
                  <a:extLst>
                    <a:ext uri="{9D8B030D-6E8A-4147-A177-3AD203B41FA5}">
                      <a16:colId xmlns:a16="http://schemas.microsoft.com/office/drawing/2014/main" val="2173740020"/>
                    </a:ext>
                  </a:extLst>
                </a:gridCol>
                <a:gridCol w="198395">
                  <a:extLst>
                    <a:ext uri="{9D8B030D-6E8A-4147-A177-3AD203B41FA5}">
                      <a16:colId xmlns:a16="http://schemas.microsoft.com/office/drawing/2014/main" val="1225063742"/>
                    </a:ext>
                  </a:extLst>
                </a:gridCol>
                <a:gridCol w="249831">
                  <a:extLst>
                    <a:ext uri="{9D8B030D-6E8A-4147-A177-3AD203B41FA5}">
                      <a16:colId xmlns:a16="http://schemas.microsoft.com/office/drawing/2014/main" val="218816774"/>
                    </a:ext>
                  </a:extLst>
                </a:gridCol>
                <a:gridCol w="198395">
                  <a:extLst>
                    <a:ext uri="{9D8B030D-6E8A-4147-A177-3AD203B41FA5}">
                      <a16:colId xmlns:a16="http://schemas.microsoft.com/office/drawing/2014/main" val="1342323894"/>
                    </a:ext>
                  </a:extLst>
                </a:gridCol>
                <a:gridCol w="198395">
                  <a:extLst>
                    <a:ext uri="{9D8B030D-6E8A-4147-A177-3AD203B41FA5}">
                      <a16:colId xmlns:a16="http://schemas.microsoft.com/office/drawing/2014/main" val="943376460"/>
                    </a:ext>
                  </a:extLst>
                </a:gridCol>
                <a:gridCol w="198395">
                  <a:extLst>
                    <a:ext uri="{9D8B030D-6E8A-4147-A177-3AD203B41FA5}">
                      <a16:colId xmlns:a16="http://schemas.microsoft.com/office/drawing/2014/main" val="2452658726"/>
                    </a:ext>
                  </a:extLst>
                </a:gridCol>
              </a:tblGrid>
              <a:tr h="259742">
                <a:tc rowSpan="2">
                  <a:txBody>
                    <a:bodyPr/>
                    <a:lstStyle/>
                    <a:p>
                      <a:pPr algn="l" fontAlgn="ctr"/>
                      <a:r>
                        <a:rPr lang="fr-FR" sz="1400" b="1" i="0" u="none" strike="noStrike">
                          <a:solidFill>
                            <a:srgbClr val="FFFFFF"/>
                          </a:solidFill>
                          <a:effectLst/>
                          <a:latin typeface="Arial" panose="020B0604020202020204" pitchFamily="34" charset="0"/>
                        </a:rPr>
                        <a:t>Axe stratégique</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rowSpan="2">
                  <a:txBody>
                    <a:bodyPr/>
                    <a:lstStyle/>
                    <a:p>
                      <a:pPr algn="ctr" fontAlgn="ctr"/>
                      <a:r>
                        <a:rPr lang="fr-FR" sz="1400" b="1" i="0" u="none" strike="noStrike">
                          <a:solidFill>
                            <a:srgbClr val="FFFFFF"/>
                          </a:solidFill>
                          <a:effectLst/>
                          <a:latin typeface="Arial" panose="020B0604020202020204" pitchFamily="34" charset="0"/>
                        </a:rPr>
                        <a:t>Activités/actions</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rowSpan="2">
                  <a:txBody>
                    <a:bodyPr/>
                    <a:lstStyle/>
                    <a:p>
                      <a:pPr algn="ctr" fontAlgn="ctr"/>
                      <a:r>
                        <a:rPr lang="fr-FR" sz="1400" b="1" i="0" u="none" strike="noStrike">
                          <a:solidFill>
                            <a:srgbClr val="FFFFFF"/>
                          </a:solidFill>
                          <a:effectLst/>
                          <a:latin typeface="Arial" panose="020B0604020202020204" pitchFamily="34" charset="0"/>
                        </a:rPr>
                        <a:t>Objectif /Résultat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rowSpan="2">
                  <a:txBody>
                    <a:bodyPr/>
                    <a:lstStyle/>
                    <a:p>
                      <a:pPr algn="ctr" fontAlgn="ctr"/>
                      <a:r>
                        <a:rPr lang="fr-FR" sz="1400" b="1" i="0" u="none" strike="noStrike">
                          <a:solidFill>
                            <a:srgbClr val="FFFFFF"/>
                          </a:solidFill>
                          <a:effectLst/>
                          <a:latin typeface="Arial" panose="020B0604020202020204" pitchFamily="34" charset="0"/>
                        </a:rPr>
                        <a:t>Partie prenantes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ctr"/>
                      <a:r>
                        <a:rPr lang="fr-FR" sz="1400" b="1" i="0" u="none" strike="noStrike">
                          <a:solidFill>
                            <a:srgbClr val="FFFFFF"/>
                          </a:solidFill>
                          <a:effectLst/>
                          <a:latin typeface="Arial" panose="020B0604020202020204" pitchFamily="34" charset="0"/>
                        </a:rPr>
                        <a:t>2022</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gridSpan="4">
                  <a:txBody>
                    <a:bodyPr/>
                    <a:lstStyle/>
                    <a:p>
                      <a:pPr algn="ctr" fontAlgn="b"/>
                      <a:r>
                        <a:rPr lang="fr-FR" sz="1400" b="1" i="0" u="none" strike="noStrike">
                          <a:solidFill>
                            <a:srgbClr val="FFFFFF"/>
                          </a:solidFill>
                          <a:effectLst/>
                          <a:latin typeface="Calibri" panose="020F0502020204030204" pitchFamily="34" charset="0"/>
                        </a:rPr>
                        <a:t>2023</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hMerge="1">
                  <a:txBody>
                    <a:bodyPr/>
                    <a:lstStyle/>
                    <a:p>
                      <a:endParaRPr lang="fr-FR"/>
                    </a:p>
                  </a:txBody>
                  <a:tcPr/>
                </a:tc>
                <a:tc hMerge="1">
                  <a:txBody>
                    <a:bodyPr/>
                    <a:lstStyle/>
                    <a:p>
                      <a:endParaRPr lang="fr-FR"/>
                    </a:p>
                  </a:txBody>
                  <a:tcPr/>
                </a:tc>
                <a:tc hMerge="1">
                  <a:txBody>
                    <a:bodyPr/>
                    <a:lstStyle/>
                    <a:p>
                      <a:endParaRPr lang="fr-FR"/>
                    </a:p>
                  </a:txBody>
                  <a:tcPr/>
                </a:tc>
                <a:tc gridSpan="4">
                  <a:txBody>
                    <a:bodyPr/>
                    <a:lstStyle/>
                    <a:p>
                      <a:pPr algn="ctr" fontAlgn="ctr"/>
                      <a:r>
                        <a:rPr lang="fr-FR" sz="1400" b="1" i="0" u="none" strike="noStrike">
                          <a:solidFill>
                            <a:srgbClr val="FFFFFF"/>
                          </a:solidFill>
                          <a:effectLst/>
                          <a:latin typeface="Arial" panose="020B0604020202020204" pitchFamily="34" charset="0"/>
                        </a:rPr>
                        <a:t>2024</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313643988"/>
                  </a:ext>
                </a:extLst>
              </a:tr>
              <a:tr h="284929">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b"/>
                      <a:r>
                        <a:rPr lang="fr-FR" sz="1400" b="1" i="0" u="none" strike="noStrike">
                          <a:solidFill>
                            <a:srgbClr val="FFFFFF"/>
                          </a:solidFill>
                          <a:effectLst/>
                          <a:latin typeface="Calibri" panose="020F0502020204030204" pitchFamily="34" charset="0"/>
                        </a:rPr>
                        <a:t>TR 4</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a:solidFill>
                            <a:srgbClr val="FFFFFF"/>
                          </a:solidFill>
                          <a:effectLst/>
                          <a:latin typeface="Calibri" panose="020F0502020204030204" pitchFamily="34" charset="0"/>
                        </a:rPr>
                        <a:t>TR 1</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a:solidFill>
                            <a:srgbClr val="FFFFFF"/>
                          </a:solidFill>
                          <a:effectLst/>
                          <a:latin typeface="Calibri" panose="020F0502020204030204" pitchFamily="34" charset="0"/>
                        </a:rPr>
                        <a:t>TR 2</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a:solidFill>
                            <a:srgbClr val="FFFFFF"/>
                          </a:solidFill>
                          <a:effectLst/>
                          <a:latin typeface="Calibri" panose="020F0502020204030204" pitchFamily="34" charset="0"/>
                        </a:rPr>
                        <a:t>TR 3</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a:solidFill>
                            <a:srgbClr val="FFFFFF"/>
                          </a:solidFill>
                          <a:effectLst/>
                          <a:latin typeface="Calibri" panose="020F0502020204030204" pitchFamily="34" charset="0"/>
                        </a:rPr>
                        <a:t>TR4</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a:solidFill>
                            <a:srgbClr val="FFFFFF"/>
                          </a:solidFill>
                          <a:effectLst/>
                          <a:latin typeface="Calibri" panose="020F0502020204030204" pitchFamily="34" charset="0"/>
                        </a:rPr>
                        <a:t>TR1</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a:solidFill>
                            <a:srgbClr val="FFFFFF"/>
                          </a:solidFill>
                          <a:effectLst/>
                          <a:latin typeface="Calibri" panose="020F0502020204030204" pitchFamily="34" charset="0"/>
                        </a:rPr>
                        <a:t>TR2</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a:solidFill>
                            <a:srgbClr val="FFFFFF"/>
                          </a:solidFill>
                          <a:effectLst/>
                          <a:latin typeface="Calibri" panose="020F0502020204030204" pitchFamily="34" charset="0"/>
                        </a:rPr>
                        <a:t>TR3</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tc>
                  <a:txBody>
                    <a:bodyPr/>
                    <a:lstStyle/>
                    <a:p>
                      <a:pPr algn="ctr" fontAlgn="b"/>
                      <a:r>
                        <a:rPr lang="fr-FR" sz="1400" b="1" i="0" u="none" strike="noStrike">
                          <a:solidFill>
                            <a:srgbClr val="FFFFFF"/>
                          </a:solidFill>
                          <a:effectLst/>
                          <a:latin typeface="Calibri" panose="020F0502020204030204" pitchFamily="34" charset="0"/>
                        </a:rPr>
                        <a:t>TR4</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7C91"/>
                    </a:solidFill>
                  </a:tcPr>
                </a:tc>
                <a:extLst>
                  <a:ext uri="{0D108BD9-81ED-4DB2-BD59-A6C34878D82A}">
                    <a16:rowId xmlns:a16="http://schemas.microsoft.com/office/drawing/2014/main" val="200346138"/>
                  </a:ext>
                </a:extLst>
              </a:tr>
              <a:tr h="802838">
                <a:tc rowSpan="3">
                  <a:txBody>
                    <a:bodyPr/>
                    <a:lstStyle/>
                    <a:p>
                      <a:pPr algn="l" fontAlgn="ctr"/>
                      <a:r>
                        <a:rPr lang="fr-FR" sz="1400" b="1" i="0" u="none" strike="noStrike">
                          <a:solidFill>
                            <a:srgbClr val="404040"/>
                          </a:solidFill>
                          <a:effectLst/>
                          <a:latin typeface="Arial" panose="020B0604020202020204" pitchFamily="34" charset="0"/>
                        </a:rPr>
                        <a:t>Conformité à l'exigence 2.5</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Préparer une lettre invitant toutes les entreprises détenant des participations dans les contrats pétroliers, des titres ou autorisations  de divulguer les informations sur leur BE et de fournir des garanties adéquates relativement à la fiabilité des données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Lettre publiée par l'ITIE Cameroun sur son site web et/ dans les journaux accompagnée du modèle de formulaire de déclaration et du guide de remplissage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fr-FR" sz="1400" b="0" i="0" u="none" strike="noStrike">
                          <a:solidFill>
                            <a:srgbClr val="404040"/>
                          </a:solidFill>
                          <a:effectLst/>
                          <a:latin typeface="Arial" panose="020B0604020202020204" pitchFamily="34" charset="0"/>
                        </a:rPr>
                        <a:t>GMP/ITIE Cameroun</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7023645"/>
                  </a:ext>
                </a:extLst>
              </a:tr>
              <a:tr h="419260">
                <a:tc vMerge="1">
                  <a:txBody>
                    <a:bodyPr/>
                    <a:lstStyle/>
                    <a:p>
                      <a:endParaRPr lang="fr-FR"/>
                    </a:p>
                  </a:txBody>
                  <a:tcPr/>
                </a:tc>
                <a:tc>
                  <a:txBody>
                    <a:bodyPr/>
                    <a:lstStyle/>
                    <a:p>
                      <a:pPr algn="l" fontAlgn="ctr"/>
                      <a:r>
                        <a:rPr lang="fr-FR" sz="1400" b="0" i="0" u="none" strike="noStrike">
                          <a:solidFill>
                            <a:srgbClr val="404040"/>
                          </a:solidFill>
                          <a:effectLst/>
                          <a:latin typeface="Arial" panose="020B0604020202020204" pitchFamily="34" charset="0"/>
                        </a:rPr>
                        <a:t>Organiser un atelier de sensibilisation pour toutes sociétés extractives (y compris celles ne faisant pas partie des périmètre de rapprochement)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Entreprises sensibilisées et formées sur l’identification et le remplissage de la déclaration des BE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fr-FR" sz="1400" b="0" i="0" u="none" strike="noStrike">
                          <a:solidFill>
                            <a:srgbClr val="404040"/>
                          </a:solidFill>
                          <a:effectLst/>
                          <a:latin typeface="Arial" panose="020B0604020202020204" pitchFamily="34" charset="0"/>
                        </a:rPr>
                        <a:t>SP/ITIE Cameroun</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8836091"/>
                  </a:ext>
                </a:extLst>
              </a:tr>
              <a:tr h="305393">
                <a:tc vMerge="1">
                  <a:txBody>
                    <a:bodyPr/>
                    <a:lstStyle/>
                    <a:p>
                      <a:endParaRPr lang="fr-FR"/>
                    </a:p>
                  </a:txBody>
                  <a:tcPr/>
                </a:tc>
                <a:tc>
                  <a:txBody>
                    <a:bodyPr/>
                    <a:lstStyle/>
                    <a:p>
                      <a:pPr algn="l" fontAlgn="ctr"/>
                      <a:r>
                        <a:rPr lang="fr-FR" sz="1400" b="0" i="0" u="none" strike="noStrike">
                          <a:solidFill>
                            <a:srgbClr val="404040"/>
                          </a:solidFill>
                          <a:effectLst/>
                          <a:latin typeface="Arial" panose="020B0604020202020204" pitchFamily="34" charset="0"/>
                        </a:rPr>
                        <a:t>Collecte et traitement des données collectées </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a:solidFill>
                            <a:srgbClr val="404040"/>
                          </a:solidFill>
                          <a:effectLst/>
                          <a:latin typeface="Arial" panose="020B0604020202020204" pitchFamily="34" charset="0"/>
                        </a:rPr>
                        <a:t>Note d'évaluation de la qualité et exhaustivité des données présentée et débattue par le Comité ITIE</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fr-FR" sz="1400" b="0" i="0" u="none" strike="noStrike">
                          <a:solidFill>
                            <a:srgbClr val="404040"/>
                          </a:solidFill>
                          <a:effectLst/>
                          <a:latin typeface="Arial" panose="020B0604020202020204" pitchFamily="34" charset="0"/>
                        </a:rPr>
                        <a:t>GMP/ITIE Cameroun</a:t>
                      </a:r>
                    </a:p>
                  </a:txBody>
                  <a:tcPr marL="7871" marR="7871" marT="78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p>
                  </a:txBody>
                  <a:tcPr marL="7871" marR="7871" marT="78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1461812"/>
                  </a:ext>
                </a:extLst>
              </a:tr>
            </a:tbl>
          </a:graphicData>
        </a:graphic>
      </p:graphicFrame>
    </p:spTree>
    <p:extLst>
      <p:ext uri="{BB962C8B-B14F-4D97-AF65-F5344CB8AC3E}">
        <p14:creationId xmlns:p14="http://schemas.microsoft.com/office/powerpoint/2010/main" val="3709478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DB67417-F241-4307-904A-D316C7680B0F}"/>
              </a:ext>
            </a:extLst>
          </p:cNvPr>
          <p:cNvSpPr/>
          <p:nvPr/>
        </p:nvSpPr>
        <p:spPr>
          <a:xfrm>
            <a:off x="1" y="0"/>
            <a:ext cx="12192001"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2400"/>
          </a:p>
        </p:txBody>
      </p:sp>
      <p:pic>
        <p:nvPicPr>
          <p:cNvPr id="2" name="Picture 13">
            <a:extLst>
              <a:ext uri="{FF2B5EF4-FFF2-40B4-BE49-F238E27FC236}">
                <a16:creationId xmlns:a16="http://schemas.microsoft.com/office/drawing/2014/main" id="{5872369E-ECE3-F41E-D891-ACF0E030C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29660" y="2862461"/>
            <a:ext cx="4932680" cy="1352033"/>
          </a:xfrm>
          <a:prstGeom prst="rect">
            <a:avLst/>
          </a:prstGeom>
        </p:spPr>
      </p:pic>
    </p:spTree>
    <p:extLst>
      <p:ext uri="{BB962C8B-B14F-4D97-AF65-F5344CB8AC3E}">
        <p14:creationId xmlns:p14="http://schemas.microsoft.com/office/powerpoint/2010/main" val="34668369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Opportunité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Lutte contre la corruption</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4</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753033" y="1616591"/>
            <a:ext cx="10600767" cy="4462760"/>
          </a:xfrm>
          <a:prstGeom prst="rect">
            <a:avLst/>
          </a:prstGeom>
          <a:noFill/>
        </p:spPr>
        <p:txBody>
          <a:bodyPr wrap="square">
            <a:spAutoFit/>
          </a:bodyPr>
          <a:lstStyle/>
          <a:p>
            <a:pPr algn="just">
              <a:spcBef>
                <a:spcPts val="600"/>
              </a:spcBef>
              <a:spcAft>
                <a:spcPts val="600"/>
              </a:spcAft>
            </a:pPr>
            <a:r>
              <a:rPr lang="fr-FR" sz="1800" dirty="0">
                <a:solidFill>
                  <a:srgbClr val="404040"/>
                </a:solidFill>
                <a:effectLst/>
                <a:latin typeface="Kohinoor Devanagari" panose="02000000000000000000"/>
                <a:ea typeface="Times New Roman" panose="02020603050405020304" pitchFamily="18" charset="0"/>
              </a:rPr>
              <a:t>Selon </a:t>
            </a:r>
            <a:r>
              <a:rPr lang="fr-FR" sz="1800" u="sng" dirty="0">
                <a:solidFill>
                  <a:srgbClr val="404040"/>
                </a:solidFill>
                <a:effectLst/>
                <a:latin typeface="Kohinoor Devanagari" panose="02000000000000000000"/>
                <a:ea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l’indice</a:t>
            </a:r>
            <a:r>
              <a:rPr lang="fr-FR" sz="1800" dirty="0">
                <a:solidFill>
                  <a:srgbClr val="404040"/>
                </a:solidFill>
                <a:effectLst/>
                <a:latin typeface="Kohinoor Devanagari" panose="02000000000000000000"/>
                <a:ea typeface="Times New Roman" panose="02020603050405020304" pitchFamily="18" charset="0"/>
              </a:rPr>
              <a:t> de gouvernance des ressources naturelle de 2017 (NRGI), le contrôle de la corruption dans le secteur pétrolier camerounai</a:t>
            </a:r>
            <a:r>
              <a:rPr lang="fr-FR" dirty="0">
                <a:solidFill>
                  <a:srgbClr val="404040"/>
                </a:solidFill>
                <a:latin typeface="Kohinoor Devanagari" panose="02000000000000000000"/>
                <a:ea typeface="Times New Roman" panose="02020603050405020304" pitchFamily="18" charset="0"/>
              </a:rPr>
              <a:t>s</a:t>
            </a:r>
            <a:r>
              <a:rPr lang="fr-FR" sz="1800" dirty="0">
                <a:solidFill>
                  <a:srgbClr val="404040"/>
                </a:solidFill>
                <a:effectLst/>
                <a:latin typeface="Kohinoor Devanagari" panose="02000000000000000000"/>
                <a:ea typeface="Times New Roman" panose="02020603050405020304" pitchFamily="18" charset="0"/>
              </a:rPr>
              <a:t> a été jugé insuffisant avec un score de </a:t>
            </a:r>
            <a:r>
              <a:rPr lang="fr-FR" dirty="0">
                <a:solidFill>
                  <a:srgbClr val="404040"/>
                </a:solidFill>
                <a:latin typeface="Kohinoor Devanagari" panose="02000000000000000000"/>
                <a:ea typeface="Times New Roman" panose="02020603050405020304" pitchFamily="18" charset="0"/>
              </a:rPr>
              <a:t>26</a:t>
            </a:r>
            <a:r>
              <a:rPr lang="fr-FR" sz="1800" dirty="0">
                <a:solidFill>
                  <a:srgbClr val="404040"/>
                </a:solidFill>
                <a:effectLst/>
                <a:latin typeface="Kohinoor Devanagari" panose="02000000000000000000"/>
                <a:ea typeface="Times New Roman" panose="02020603050405020304" pitchFamily="18" charset="0"/>
              </a:rPr>
              <a:t> sur une échelle de 100. L’</a:t>
            </a:r>
            <a:r>
              <a:rPr lang="fr-FR" sz="1800" u="sng" dirty="0">
                <a:solidFill>
                  <a:srgbClr val="404040"/>
                </a:solidFill>
                <a:effectLst/>
                <a:latin typeface="Kohinoor Devanagari" panose="02000000000000000000"/>
                <a:ea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indice</a:t>
            </a:r>
            <a:r>
              <a:rPr lang="fr-FR" sz="1800" dirty="0">
                <a:solidFill>
                  <a:srgbClr val="404040"/>
                </a:solidFill>
                <a:effectLst/>
                <a:latin typeface="Kohinoor Devanagari" panose="02000000000000000000"/>
                <a:ea typeface="Times New Roman" panose="02020603050405020304" pitchFamily="18" charset="0"/>
              </a:rPr>
              <a:t> de perception de la corruption (IPC) était de </a:t>
            </a:r>
            <a:r>
              <a:rPr lang="fr-FR" dirty="0">
                <a:solidFill>
                  <a:srgbClr val="404040"/>
                </a:solidFill>
                <a:latin typeface="Kohinoor Devanagari" panose="02000000000000000000"/>
                <a:ea typeface="Times New Roman" panose="02020603050405020304" pitchFamily="18" charset="0"/>
              </a:rPr>
              <a:t>27</a:t>
            </a:r>
            <a:r>
              <a:rPr lang="fr-FR" sz="1800" dirty="0">
                <a:solidFill>
                  <a:srgbClr val="404040"/>
                </a:solidFill>
                <a:effectLst/>
                <a:latin typeface="Kohinoor Devanagari" panose="02000000000000000000"/>
                <a:ea typeface="Times New Roman" panose="02020603050405020304" pitchFamily="18" charset="0"/>
              </a:rPr>
              <a:t> points en 2021 sur une échelle de 100. Le pays occupe ainsi la 144e place sur 180 pays évalués.</a:t>
            </a:r>
          </a:p>
          <a:p>
            <a:pPr algn="just">
              <a:spcBef>
                <a:spcPts val="600"/>
              </a:spcBef>
              <a:spcAft>
                <a:spcPts val="600"/>
              </a:spcAft>
            </a:pPr>
            <a:r>
              <a:rPr lang="fr-FR" sz="1800" dirty="0">
                <a:solidFill>
                  <a:srgbClr val="404040"/>
                </a:solidFill>
                <a:effectLst/>
                <a:latin typeface="Kohinoor Devanagari" panose="02000000000000000000"/>
                <a:ea typeface="Times New Roman" panose="02020603050405020304" pitchFamily="18" charset="0"/>
              </a:rPr>
              <a:t>Une étude de l’OCDE réalisée en 2014 portant sur 400 affaires de corruption dans 41 pays a révélé que 1/4 des dossiers concernait des transferts d’argent illicites via des sociétés écrans. Selon des estimations de la Banque Mondiale, des personnes politiquement exposées cachaient leur identité derrière ce type de société dans 70 % des 200 cas de corruption majeure. </a:t>
            </a:r>
          </a:p>
          <a:p>
            <a:pPr algn="just">
              <a:spcBef>
                <a:spcPts val="600"/>
              </a:spcBef>
              <a:spcAft>
                <a:spcPts val="600"/>
              </a:spcAft>
            </a:pPr>
            <a:r>
              <a:rPr lang="fr-FR" sz="1800" b="1" dirty="0">
                <a:solidFill>
                  <a:srgbClr val="404040"/>
                </a:solidFill>
                <a:effectLst/>
                <a:latin typeface="Kohinoor Devanagari" panose="02000000000000000000"/>
                <a:ea typeface="Times New Roman" panose="02020603050405020304" pitchFamily="18" charset="0"/>
              </a:rPr>
              <a:t>Si l’identité du propriétaire effectif d’une entreprise n’est pas suffisamment claire, les autorités, les banques et les opérateurs économiques ne peuvent pas effectuer de vérification efficace, et courent le risque de faciliter des actes de corruption. </a:t>
            </a:r>
          </a:p>
          <a:p>
            <a:pPr lvl="1" algn="just">
              <a:spcBef>
                <a:spcPts val="1000"/>
              </a:spcBef>
              <a:spcAft>
                <a:spcPts val="1000"/>
              </a:spcAft>
            </a:pPr>
            <a:endParaRPr lang="fr-FR" b="1" dirty="0">
              <a:solidFill>
                <a:srgbClr val="FF0000"/>
              </a:solidFill>
              <a:latin typeface="Kohinoor Devanagari" panose="02000000000000000000"/>
              <a:cs typeface="Times New Roman" panose="02020603050405020304" pitchFamily="18" charset="0"/>
            </a:endParaRPr>
          </a:p>
          <a:p>
            <a:pPr lvl="1" algn="just">
              <a:spcBef>
                <a:spcPts val="1000"/>
              </a:spcBef>
              <a:spcAft>
                <a:spcPts val="1000"/>
              </a:spcAft>
            </a:pPr>
            <a:r>
              <a:rPr lang="fr-FR" sz="1800" b="1" dirty="0">
                <a:solidFill>
                  <a:srgbClr val="FF0000"/>
                </a:solidFill>
                <a:effectLst/>
                <a:latin typeface="Kohinoor Devanagari" panose="02000000000000000000"/>
                <a:cs typeface="Times New Roman" panose="02020603050405020304" pitchFamily="18" charset="0"/>
              </a:rPr>
              <a:t> </a:t>
            </a:r>
            <a:endParaRPr lang="fr-FR" sz="1800" b="1" dirty="0">
              <a:effectLst/>
              <a:latin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142827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Opportunité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LBC/FT</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5</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753033" y="1616591"/>
            <a:ext cx="10642250" cy="4914166"/>
          </a:xfrm>
          <a:prstGeom prst="rect">
            <a:avLst/>
          </a:prstGeom>
          <a:noFill/>
        </p:spPr>
        <p:txBody>
          <a:bodyPr wrap="square">
            <a:spAutoFit/>
          </a:bodyPr>
          <a:lstStyle/>
          <a:p>
            <a:pPr algn="just">
              <a:spcBef>
                <a:spcPts val="600"/>
              </a:spcBef>
              <a:spcAft>
                <a:spcPts val="600"/>
              </a:spcAft>
            </a:pPr>
            <a:r>
              <a:rPr lang="fr-FR" dirty="0">
                <a:solidFill>
                  <a:srgbClr val="404040"/>
                </a:solidFill>
                <a:latin typeface="Kohinoor Devanagari" panose="02000000000000000000"/>
              </a:rPr>
              <a:t>D'après les résultats de deux évaluations menées alternativement par le gouvernement du Cameroun (Evaluation nationale des risques) et le Groupe d'action contre le blanchiment d'argent en Afrique centrale (</a:t>
            </a:r>
            <a:r>
              <a:rPr lang="fr-FR" dirty="0" err="1">
                <a:solidFill>
                  <a:srgbClr val="404040"/>
                </a:solidFill>
                <a:latin typeface="Kohinoor Devanagari" panose="02000000000000000000"/>
              </a:rPr>
              <a:t>Gabac</a:t>
            </a:r>
            <a:r>
              <a:rPr lang="fr-FR" dirty="0">
                <a:solidFill>
                  <a:srgbClr val="404040"/>
                </a:solidFill>
                <a:latin typeface="Kohinoor Devanagari" panose="02000000000000000000"/>
              </a:rPr>
              <a:t>), le Cameroun affiche </a:t>
            </a:r>
            <a:r>
              <a:rPr lang="fr-FR" b="1" dirty="0">
                <a:solidFill>
                  <a:srgbClr val="404040"/>
                </a:solidFill>
                <a:latin typeface="Kohinoor Devanagari" panose="02000000000000000000"/>
              </a:rPr>
              <a:t>la note «Élevé», </a:t>
            </a:r>
            <a:r>
              <a:rPr lang="fr-FR" dirty="0">
                <a:solidFill>
                  <a:srgbClr val="404040"/>
                </a:solidFill>
                <a:latin typeface="Kohinoor Devanagari" panose="02000000000000000000"/>
              </a:rPr>
              <a:t>concernant les risques de blanchiment des capitaux. </a:t>
            </a:r>
          </a:p>
          <a:p>
            <a:pPr algn="just">
              <a:spcBef>
                <a:spcPts val="600"/>
              </a:spcBef>
              <a:spcAft>
                <a:spcPts val="600"/>
              </a:spcAft>
            </a:pPr>
            <a:r>
              <a:rPr lang="fr-FR" sz="1800" dirty="0">
                <a:solidFill>
                  <a:srgbClr val="404040"/>
                </a:solidFill>
                <a:effectLst/>
                <a:latin typeface="Kohinoor Devanagari" panose="02000000000000000000"/>
                <a:ea typeface="Times New Roman" panose="02020603050405020304" pitchFamily="18" charset="0"/>
              </a:rPr>
              <a:t>Le dernier </a:t>
            </a:r>
            <a:r>
              <a:rPr lang="fr-FR" sz="1800" u="sng" dirty="0">
                <a:solidFill>
                  <a:srgbClr val="404040"/>
                </a:solidFill>
                <a:effectLst/>
                <a:latin typeface="Kohinoor Devanagari" panose="02000000000000000000"/>
                <a:ea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rapport d’évaluation mutuelle</a:t>
            </a:r>
            <a:r>
              <a:rPr lang="fr-FR" sz="1800" dirty="0">
                <a:solidFill>
                  <a:srgbClr val="404040"/>
                </a:solidFill>
                <a:effectLst/>
                <a:latin typeface="Kohinoor Devanagari" panose="02000000000000000000"/>
                <a:ea typeface="Times New Roman" panose="02020603050405020304" pitchFamily="18" charset="0"/>
              </a:rPr>
              <a:t> du </a:t>
            </a:r>
            <a:r>
              <a:rPr lang="fr-FR" dirty="0">
                <a:solidFill>
                  <a:srgbClr val="404040"/>
                </a:solidFill>
                <a:latin typeface="Kohinoor Devanagari" panose="02000000000000000000"/>
                <a:ea typeface="Times New Roman" panose="02020603050405020304" pitchFamily="18" charset="0"/>
              </a:rPr>
              <a:t>Cameroun</a:t>
            </a:r>
            <a:r>
              <a:rPr lang="fr-FR" sz="1800" dirty="0">
                <a:solidFill>
                  <a:srgbClr val="404040"/>
                </a:solidFill>
                <a:effectLst/>
                <a:latin typeface="Kohinoor Devanagari" panose="02000000000000000000"/>
                <a:ea typeface="Times New Roman" panose="02020603050405020304" pitchFamily="18" charset="0"/>
              </a:rPr>
              <a:t> (</a:t>
            </a:r>
            <a:r>
              <a:rPr lang="fr-FR" dirty="0">
                <a:solidFill>
                  <a:srgbClr val="404040"/>
                </a:solidFill>
                <a:latin typeface="Kohinoor Devanagari" panose="02000000000000000000"/>
                <a:ea typeface="Times New Roman" panose="02020603050405020304" pitchFamily="18" charset="0"/>
              </a:rPr>
              <a:t>GABAC</a:t>
            </a:r>
            <a:r>
              <a:rPr lang="fr-FR" sz="1800" dirty="0">
                <a:solidFill>
                  <a:srgbClr val="404040"/>
                </a:solidFill>
                <a:effectLst/>
                <a:latin typeface="Kohinoor Devanagari" panose="02000000000000000000"/>
                <a:ea typeface="Times New Roman" panose="02020603050405020304" pitchFamily="18" charset="0"/>
              </a:rPr>
              <a:t>, Mars 2022) se rapportant aux mesures de LBC/FT a relevé des insuffisances se rapportant </a:t>
            </a:r>
            <a:r>
              <a:rPr lang="fr-FR" dirty="0">
                <a:solidFill>
                  <a:srgbClr val="404040"/>
                </a:solidFill>
              </a:rPr>
              <a:t>à l’absence de mécanismes d’identification et de collecte d’informations sur les bénéficiaires effectifs des personnes morales et les informations sur les BE des personnes morales ne figurent pas dans le registre des sociétés</a:t>
            </a:r>
            <a:r>
              <a:rPr lang="fr-FR" sz="1800" dirty="0">
                <a:solidFill>
                  <a:srgbClr val="404040"/>
                </a:solidFill>
                <a:effectLst/>
                <a:latin typeface="Kohinoor Devanagari" panose="02000000000000000000"/>
                <a:ea typeface="Times New Roman" panose="02020603050405020304" pitchFamily="18" charset="0"/>
              </a:rPr>
              <a:t>. </a:t>
            </a:r>
          </a:p>
          <a:p>
            <a:pPr algn="just">
              <a:spcBef>
                <a:spcPts val="600"/>
              </a:spcBef>
              <a:spcAft>
                <a:spcPts val="600"/>
              </a:spcAft>
            </a:pPr>
            <a:r>
              <a:rPr lang="fr-FR" sz="1800" b="1" dirty="0">
                <a:solidFill>
                  <a:srgbClr val="404040"/>
                </a:solidFill>
                <a:effectLst/>
                <a:latin typeface="Kohinoor Devanagari" panose="02000000000000000000"/>
                <a:ea typeface="Times New Roman" panose="02020603050405020304" pitchFamily="18" charset="0"/>
              </a:rPr>
              <a:t>Connaitre les bénéficiaires effectifs des sociétés permet aux autorités de vérifier les antécédents criminels et judiciaires des demandeurs de licences. L’objectif est d’évaluer le comportement antérieur afin d’apprécier la probabilité de conformité aux normes éthiques et professionnelles élevées et d’empêcher les acteurs suspects ou blacklistés d’accéder au secteur des industries extractives. </a:t>
            </a:r>
          </a:p>
          <a:p>
            <a:pPr algn="just">
              <a:spcBef>
                <a:spcPts val="600"/>
              </a:spcBef>
              <a:spcAft>
                <a:spcPts val="600"/>
              </a:spcAft>
            </a:pPr>
            <a:r>
              <a:rPr lang="fr-FR" b="1" dirty="0">
                <a:solidFill>
                  <a:srgbClr val="404040"/>
                </a:solidFill>
                <a:latin typeface="Kohinoor Devanagari" panose="02000000000000000000"/>
              </a:rPr>
              <a:t>L’avantage de la mise en place d’un registre public des propriétaires effectifs est qu’il simplifierait fortement les procédures, coûteuses et complexes, d’entraide judiciaire, en facilitant l'échange d’informations entre les autorités en charge du contrôle de BC/FT.</a:t>
            </a:r>
            <a:endParaRPr lang="fr-FR" b="1" dirty="0">
              <a:solidFill>
                <a:srgbClr val="404040"/>
              </a:solidFill>
              <a:latin typeface="Kohinoor Devanagari" panose="02000000000000000000"/>
              <a:cs typeface="Times New Roman" panose="02020603050405020304" pitchFamily="18" charset="0"/>
            </a:endParaRPr>
          </a:p>
          <a:p>
            <a:pPr lvl="1" algn="just">
              <a:spcBef>
                <a:spcPts val="1000"/>
              </a:spcBef>
              <a:spcAft>
                <a:spcPts val="1000"/>
              </a:spcAft>
            </a:pPr>
            <a:r>
              <a:rPr lang="fr-FR" sz="1800" b="1" dirty="0">
                <a:solidFill>
                  <a:srgbClr val="FF0000"/>
                </a:solidFill>
                <a:effectLst/>
                <a:latin typeface="Kohinoor Devanagari" panose="02000000000000000000"/>
                <a:cs typeface="Times New Roman" panose="02020603050405020304" pitchFamily="18" charset="0"/>
              </a:rPr>
              <a:t> </a:t>
            </a:r>
            <a:endParaRPr lang="fr-FR" sz="1800" b="1" dirty="0">
              <a:effectLst/>
              <a:latin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120688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Opportunité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Lutte contre les conflits d’intérêt</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6</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753033" y="1616591"/>
            <a:ext cx="10920826" cy="4144724"/>
          </a:xfrm>
          <a:prstGeom prst="rect">
            <a:avLst/>
          </a:prstGeom>
          <a:noFill/>
        </p:spPr>
        <p:txBody>
          <a:bodyPr wrap="square">
            <a:spAutoFit/>
          </a:bodyPr>
          <a:lstStyle/>
          <a:p>
            <a:pPr algn="just">
              <a:spcBef>
                <a:spcPts val="600"/>
              </a:spcBef>
              <a:spcAft>
                <a:spcPts val="600"/>
              </a:spcAft>
            </a:pPr>
            <a:r>
              <a:rPr lang="fr-FR" sz="2400" dirty="0">
                <a:solidFill>
                  <a:srgbClr val="404040"/>
                </a:solidFill>
                <a:latin typeface="Kohinoor Devanagari" panose="02000000000000000000"/>
              </a:rPr>
              <a:t>Le Code minier et le Code pétrolier interdisent  aux fonctionnaires, agents de l'administration ou employés des organisme public ou parapublic de détenir directement ou indirectement des intérêts dans des sociétés ou opérations pétrolières et minières. </a:t>
            </a:r>
          </a:p>
          <a:p>
            <a:pPr algn="just">
              <a:spcBef>
                <a:spcPts val="600"/>
              </a:spcBef>
              <a:spcAft>
                <a:spcPts val="600"/>
              </a:spcAft>
            </a:pPr>
            <a:r>
              <a:rPr lang="fr-FR" sz="2400" b="1" dirty="0">
                <a:solidFill>
                  <a:srgbClr val="404040"/>
                </a:solidFill>
                <a:effectLst/>
                <a:latin typeface="Kohinoor Devanagari" panose="02000000000000000000"/>
                <a:ea typeface="Times New Roman" panose="02020603050405020304" pitchFamily="18" charset="0"/>
              </a:rPr>
              <a:t>Identifier les propriétaires effectifs qui sont également des PPE est un moyen concret d’identifier et de gérer les conflits d’intérêts lors de l’octroi de licences dans un secteur aussi critique que celui des industries extractives. Il facilite aux autorités en charge de l’évaluation des dossiers l’identification des cas non déclarés de conflits d’intérêts ou d’interdiction</a:t>
            </a:r>
            <a:r>
              <a:rPr lang="fr-FR" sz="2400" b="1" dirty="0">
                <a:solidFill>
                  <a:srgbClr val="404040"/>
                </a:solidFill>
                <a:latin typeface="Kohinoor Devanagari" panose="02000000000000000000"/>
                <a:ea typeface="Times New Roman" panose="02020603050405020304" pitchFamily="18" charset="0"/>
              </a:rPr>
              <a:t>. </a:t>
            </a:r>
            <a:endParaRPr lang="fr-FR" sz="2400" b="1" dirty="0">
              <a:solidFill>
                <a:srgbClr val="404040"/>
              </a:solidFill>
              <a:effectLst/>
              <a:latin typeface="Arial" panose="020B0604020202020204" pitchFamily="34" charset="0"/>
              <a:ea typeface="Times New Roman" panose="02020603050405020304" pitchFamily="18" charset="0"/>
            </a:endParaRPr>
          </a:p>
          <a:p>
            <a:pPr lvl="1" algn="just">
              <a:spcBef>
                <a:spcPts val="1000"/>
              </a:spcBef>
              <a:spcAft>
                <a:spcPts val="1000"/>
              </a:spcAft>
            </a:pPr>
            <a:r>
              <a:rPr lang="fr-FR" sz="2400" b="1" dirty="0">
                <a:solidFill>
                  <a:srgbClr val="404040"/>
                </a:solidFill>
                <a:effectLst/>
                <a:latin typeface="Kohinoor Devanagari" panose="02000000000000000000"/>
                <a:cs typeface="Times New Roman" panose="02020603050405020304" pitchFamily="18" charset="0"/>
              </a:rPr>
              <a:t> </a:t>
            </a:r>
            <a:endParaRPr lang="fr-FR" sz="2400" b="1" dirty="0">
              <a:solidFill>
                <a:srgbClr val="404040"/>
              </a:solidFill>
              <a:effectLst/>
              <a:latin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41452312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Opportunité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Lutte contre l’évasion fiscale</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7</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753033" y="1616591"/>
            <a:ext cx="10522407" cy="4606389"/>
          </a:xfrm>
          <a:prstGeom prst="rect">
            <a:avLst/>
          </a:prstGeom>
          <a:noFill/>
        </p:spPr>
        <p:txBody>
          <a:bodyPr wrap="square">
            <a:spAutoFit/>
          </a:bodyPr>
          <a:lstStyle/>
          <a:p>
            <a:pPr algn="just">
              <a:spcBef>
                <a:spcPts val="600"/>
              </a:spcBef>
              <a:spcAft>
                <a:spcPts val="600"/>
              </a:spcAft>
            </a:pPr>
            <a:r>
              <a:rPr lang="fr-FR" sz="2000" dirty="0">
                <a:solidFill>
                  <a:srgbClr val="404040"/>
                </a:solidFill>
                <a:effectLst/>
                <a:latin typeface="Kohinoor Devanagari" panose="02000000000000000000"/>
                <a:ea typeface="Times New Roman" panose="02020603050405020304" pitchFamily="18" charset="0"/>
              </a:rPr>
              <a:t>La Commission économique pour l’Afrique des Nations Unies (CEA) estime que les flux financiers illicites en provenance d’Afrique dus à des manipulations frauduleuses représentent un montant de 50  milliards USD, faisant écho à la Banque africaine de développement qui a spécifiquement identifié « … l’imposition inefficace des activités extractives et l’incapacité de lutter contre les abus des prix de transfert auxquels se livrent les entreprises multinationales… » comme étant la raison de l’érosion de la base d’imposition dans les pays en développement.</a:t>
            </a:r>
            <a:endParaRPr lang="fr-FR" sz="2000" dirty="0">
              <a:solidFill>
                <a:srgbClr val="404040"/>
              </a:solidFill>
              <a:effectLst/>
              <a:latin typeface="Arial" panose="020B0604020202020204" pitchFamily="34" charset="0"/>
              <a:ea typeface="Times New Roman" panose="02020603050405020304" pitchFamily="18" charset="0"/>
            </a:endParaRPr>
          </a:p>
          <a:p>
            <a:pPr algn="just">
              <a:spcBef>
                <a:spcPts val="600"/>
              </a:spcBef>
              <a:spcAft>
                <a:spcPts val="600"/>
              </a:spcAft>
            </a:pPr>
            <a:endParaRPr lang="fr-FR" sz="2000" dirty="0">
              <a:solidFill>
                <a:srgbClr val="404040"/>
              </a:solidFill>
              <a:effectLst/>
              <a:latin typeface="Kohinoor Devanagari" panose="02000000000000000000"/>
              <a:ea typeface="Times New Roman" panose="02020603050405020304" pitchFamily="18" charset="0"/>
            </a:endParaRPr>
          </a:p>
          <a:p>
            <a:pPr algn="just">
              <a:spcBef>
                <a:spcPts val="600"/>
              </a:spcBef>
              <a:spcAft>
                <a:spcPts val="600"/>
              </a:spcAft>
            </a:pPr>
            <a:r>
              <a:rPr lang="fr-FR" sz="2000" b="1" dirty="0">
                <a:solidFill>
                  <a:srgbClr val="404040"/>
                </a:solidFill>
                <a:effectLst/>
                <a:latin typeface="Kohinoor Devanagari" panose="02000000000000000000"/>
                <a:ea typeface="Times New Roman" panose="02020603050405020304" pitchFamily="18" charset="0"/>
              </a:rPr>
              <a:t>L’indentification des bénéficiaires effectifs permet de connaitre les relations de dépendance entre les entreprises extractives et leurs partenaires (fournisseurs et clients) qui ne peuvent être révélées à travers la données sur la propriété juridique. Elle permet à l’administration fiscale de mieux cibler les transactions présentant un risque de manipulation des prix de transferts et d’adapter </a:t>
            </a:r>
            <a:r>
              <a:rPr lang="fr-FR" sz="2000" b="1" dirty="0">
                <a:solidFill>
                  <a:srgbClr val="404040"/>
                </a:solidFill>
                <a:latin typeface="Kohinoor Devanagari" panose="02000000000000000000"/>
                <a:ea typeface="Times New Roman" panose="02020603050405020304" pitchFamily="18" charset="0"/>
              </a:rPr>
              <a:t>une</a:t>
            </a:r>
            <a:r>
              <a:rPr lang="fr-FR" sz="2000" b="1" dirty="0">
                <a:solidFill>
                  <a:srgbClr val="404040"/>
                </a:solidFill>
                <a:effectLst/>
                <a:latin typeface="Kohinoor Devanagari" panose="02000000000000000000"/>
                <a:ea typeface="Times New Roman" panose="02020603050405020304" pitchFamily="18" charset="0"/>
              </a:rPr>
              <a:t> approche plus efficiente de contrôle fiscal. </a:t>
            </a:r>
            <a:endParaRPr lang="fr-FR" sz="2000" b="1" dirty="0">
              <a:solidFill>
                <a:srgbClr val="404040"/>
              </a:solidFill>
              <a:effectLst/>
              <a:latin typeface="Arial" panose="020B0604020202020204" pitchFamily="34" charset="0"/>
              <a:ea typeface="Times New Roman" panose="02020603050405020304" pitchFamily="18" charset="0"/>
            </a:endParaRPr>
          </a:p>
          <a:p>
            <a:pPr lvl="1" algn="just">
              <a:spcBef>
                <a:spcPts val="1000"/>
              </a:spcBef>
              <a:spcAft>
                <a:spcPts val="1000"/>
              </a:spcAft>
            </a:pPr>
            <a:r>
              <a:rPr lang="fr-FR" sz="2000" b="1" dirty="0">
                <a:solidFill>
                  <a:srgbClr val="404040"/>
                </a:solidFill>
                <a:effectLst/>
                <a:latin typeface="Kohinoor Devanagari" panose="02000000000000000000"/>
                <a:cs typeface="Times New Roman" panose="02020603050405020304" pitchFamily="18" charset="0"/>
              </a:rPr>
              <a:t> </a:t>
            </a:r>
            <a:endParaRPr lang="fr-FR" sz="2000" b="1" dirty="0">
              <a:solidFill>
                <a:srgbClr val="404040"/>
              </a:solidFill>
              <a:effectLst/>
              <a:latin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24261569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Opportunité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Sauvegarde des intérêts de l’Etat</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8</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753033" y="1658536"/>
            <a:ext cx="10600767" cy="4760278"/>
          </a:xfrm>
          <a:prstGeom prst="rect">
            <a:avLst/>
          </a:prstGeom>
          <a:noFill/>
        </p:spPr>
        <p:txBody>
          <a:bodyPr wrap="square">
            <a:spAutoFit/>
          </a:bodyPr>
          <a:lstStyle/>
          <a:p>
            <a:pPr algn="just">
              <a:spcBef>
                <a:spcPts val="600"/>
              </a:spcBef>
              <a:spcAft>
                <a:spcPts val="600"/>
              </a:spcAft>
            </a:pPr>
            <a:r>
              <a:rPr lang="fr-FR" sz="2000" dirty="0">
                <a:solidFill>
                  <a:srgbClr val="404040"/>
                </a:solidFill>
                <a:effectLst/>
                <a:latin typeface="Kohinoor Devanagari" panose="02000000000000000000"/>
                <a:ea typeface="Times New Roman" panose="02020603050405020304" pitchFamily="18" charset="0"/>
              </a:rPr>
              <a:t>Des informations détaillées sur les propriétaires effectifs peuvent aider à révéler des entités supplémentaires dans des structures de propriété complexes qui peuvent avoir des passifs financiers, fiscaux ou environnementaux.</a:t>
            </a:r>
          </a:p>
          <a:p>
            <a:pPr algn="just">
              <a:spcBef>
                <a:spcPts val="600"/>
              </a:spcBef>
              <a:spcAft>
                <a:spcPts val="600"/>
              </a:spcAft>
            </a:pPr>
            <a:r>
              <a:rPr lang="fr-FR" sz="2000" b="1" dirty="0">
                <a:solidFill>
                  <a:srgbClr val="404040"/>
                </a:solidFill>
                <a:effectLst/>
                <a:latin typeface="Kohinoor Devanagari" panose="02000000000000000000"/>
                <a:ea typeface="Times New Roman" panose="02020603050405020304" pitchFamily="18" charset="0"/>
              </a:rPr>
              <a:t>Une meilleure visibilité des structures de propriété aide les autorités en charge de l’octroi des licences à effectuer une meilleure analyse des risques pour les décisions d'octroi, et donc à mieux sauvegarder les intérêts de l’Etat. </a:t>
            </a:r>
          </a:p>
          <a:p>
            <a:pPr algn="just">
              <a:spcBef>
                <a:spcPts val="600"/>
              </a:spcBef>
              <a:spcAft>
                <a:spcPts val="600"/>
              </a:spcAft>
            </a:pPr>
            <a:r>
              <a:rPr lang="fr-FR" sz="2000" b="1" dirty="0">
                <a:solidFill>
                  <a:srgbClr val="404040"/>
                </a:solidFill>
                <a:effectLst/>
                <a:latin typeface="Kohinoor Devanagari" panose="02000000000000000000"/>
                <a:ea typeface="Times New Roman" panose="02020603050405020304" pitchFamily="18" charset="0"/>
              </a:rPr>
              <a:t>En gérant les risques, les autorités sont en mesure d'élargir et de diversifier la base des opérateurs et des investisseurs dans le secteur, favorisant ainsi la concurrence lors du lancement des appels à la concurrence .</a:t>
            </a:r>
            <a:endParaRPr lang="fr-FR" sz="2000" b="1" dirty="0">
              <a:solidFill>
                <a:srgbClr val="404040"/>
              </a:solidFill>
              <a:effectLst/>
              <a:latin typeface="Arial" panose="020B0604020202020204" pitchFamily="34" charset="0"/>
              <a:ea typeface="Times New Roman" panose="02020603050405020304" pitchFamily="18" charset="0"/>
            </a:endParaRPr>
          </a:p>
          <a:p>
            <a:pPr algn="just">
              <a:spcBef>
                <a:spcPts val="600"/>
              </a:spcBef>
              <a:spcAft>
                <a:spcPts val="600"/>
              </a:spcAft>
            </a:pPr>
            <a:r>
              <a:rPr lang="fr-FR" sz="2000" b="1" dirty="0">
                <a:solidFill>
                  <a:srgbClr val="404040"/>
                </a:solidFill>
                <a:effectLst/>
                <a:latin typeface="Kohinoor Devanagari" panose="02000000000000000000"/>
                <a:ea typeface="Times New Roman" panose="02020603050405020304" pitchFamily="18" charset="0"/>
              </a:rPr>
              <a:t>L’identification des propriétaires effectifs permet également de rendre plus effectif les dispositions en matière de contenu local, de participation des nationaux dans le capital des entreprises extractives et de plafonnement du nombre des titres miniers par titulaire.</a:t>
            </a:r>
          </a:p>
          <a:p>
            <a:pPr lvl="1" algn="just">
              <a:spcBef>
                <a:spcPts val="1000"/>
              </a:spcBef>
              <a:spcAft>
                <a:spcPts val="1000"/>
              </a:spcAft>
            </a:pPr>
            <a:r>
              <a:rPr lang="fr-FR" sz="2000" b="1" dirty="0">
                <a:solidFill>
                  <a:srgbClr val="404040"/>
                </a:solidFill>
                <a:effectLst/>
                <a:latin typeface="Kohinoor Devanagari" panose="02000000000000000000"/>
                <a:cs typeface="Times New Roman" panose="02020603050405020304" pitchFamily="18" charset="0"/>
              </a:rPr>
              <a:t> </a:t>
            </a:r>
            <a:endParaRPr lang="fr-FR" sz="2000" b="1" dirty="0">
              <a:solidFill>
                <a:srgbClr val="404040"/>
              </a:solidFill>
              <a:effectLst/>
              <a:latin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10408465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652691-C4F1-063F-0AD3-01DA1218A854}"/>
              </a:ext>
            </a:extLst>
          </p:cNvPr>
          <p:cNvSpPr>
            <a:spLocks noGrp="1"/>
          </p:cNvSpPr>
          <p:nvPr>
            <p:ph type="title"/>
          </p:nvPr>
        </p:nvSpPr>
        <p:spPr>
          <a:xfrm>
            <a:off x="871577" y="428877"/>
            <a:ext cx="10523706" cy="894944"/>
          </a:xfrm>
        </p:spPr>
        <p:txBody>
          <a:bodyPr>
            <a:normAutofit fontScale="90000"/>
          </a:bodyPr>
          <a:lstStyle/>
          <a:p>
            <a:r>
              <a:rPr lang="fr-FR" sz="3500" b="1" dirty="0">
                <a:solidFill>
                  <a:srgbClr val="61BC4D"/>
                </a:solidFill>
                <a:latin typeface="Kohinoor Devanagari" panose="02000000000000000000" pitchFamily="50" charset="0"/>
              </a:rPr>
              <a:t>Opportunités</a:t>
            </a:r>
            <a:br>
              <a:rPr lang="fr-FR" sz="3500" b="1" dirty="0">
                <a:solidFill>
                  <a:srgbClr val="61BC4D"/>
                </a:solidFill>
                <a:latin typeface="Kohinoor Devanagari" panose="02000000000000000000" pitchFamily="50" charset="0"/>
              </a:rPr>
            </a:br>
            <a:r>
              <a:rPr lang="fr-FR" sz="2700" b="1" dirty="0">
                <a:solidFill>
                  <a:srgbClr val="FF0000"/>
                </a:solidFill>
                <a:latin typeface="Kohinoor Devanagari" panose="02000000000000000000" pitchFamily="50" charset="0"/>
              </a:rPr>
              <a:t>Améliorer le climat des affaires</a:t>
            </a:r>
          </a:p>
        </p:txBody>
      </p:sp>
      <p:sp>
        <p:nvSpPr>
          <p:cNvPr id="7" name="Espace réservé du numéro de diapositive 6">
            <a:extLst>
              <a:ext uri="{FF2B5EF4-FFF2-40B4-BE49-F238E27FC236}">
                <a16:creationId xmlns:a16="http://schemas.microsoft.com/office/drawing/2014/main" id="{2111D427-2A2D-B16C-DB46-6423FED07292}"/>
              </a:ext>
            </a:extLst>
          </p:cNvPr>
          <p:cNvSpPr>
            <a:spLocks noGrp="1"/>
          </p:cNvSpPr>
          <p:nvPr>
            <p:ph type="sldNum" sz="quarter" idx="12"/>
          </p:nvPr>
        </p:nvSpPr>
        <p:spPr/>
        <p:txBody>
          <a:bodyPr/>
          <a:lstStyle/>
          <a:p>
            <a:fld id="{9E310995-06A9-4914-9918-BFF4546A1EC5}" type="slidenum">
              <a:rPr lang="fr-FR" smtClean="0"/>
              <a:t>9</a:t>
            </a:fld>
            <a:endParaRPr lang="fr-FR" dirty="0"/>
          </a:p>
        </p:txBody>
      </p:sp>
      <p:grpSp>
        <p:nvGrpSpPr>
          <p:cNvPr id="20" name="docshapegroup29">
            <a:extLst>
              <a:ext uri="{FF2B5EF4-FFF2-40B4-BE49-F238E27FC236}">
                <a16:creationId xmlns:a16="http://schemas.microsoft.com/office/drawing/2014/main" id="{14B4DF1C-3D4B-2C73-5CC1-A52A6C3EAEF8}"/>
              </a:ext>
            </a:extLst>
          </p:cNvPr>
          <p:cNvGrpSpPr>
            <a:grpSpLocks/>
          </p:cNvGrpSpPr>
          <p:nvPr/>
        </p:nvGrpSpPr>
        <p:grpSpPr bwMode="auto">
          <a:xfrm>
            <a:off x="11006931" y="693786"/>
            <a:ext cx="301886" cy="365125"/>
            <a:chOff x="9864" y="144"/>
            <a:chExt cx="1212" cy="1127"/>
          </a:xfrm>
        </p:grpSpPr>
        <p:sp>
          <p:nvSpPr>
            <p:cNvPr id="21" name="docshape30">
              <a:extLst>
                <a:ext uri="{FF2B5EF4-FFF2-40B4-BE49-F238E27FC236}">
                  <a16:creationId xmlns:a16="http://schemas.microsoft.com/office/drawing/2014/main" id="{C6EAD278-49DD-550A-7C65-0AA34513BDEA}"/>
                </a:ext>
              </a:extLst>
            </p:cNvPr>
            <p:cNvSpPr>
              <a:spLocks/>
            </p:cNvSpPr>
            <p:nvPr/>
          </p:nvSpPr>
          <p:spPr bwMode="auto">
            <a:xfrm>
              <a:off x="9864" y="530"/>
              <a:ext cx="1078" cy="361"/>
            </a:xfrm>
            <a:custGeom>
              <a:avLst/>
              <a:gdLst>
                <a:gd name="T0" fmla="+- 0 10942 9865"/>
                <a:gd name="T1" fmla="*/ T0 w 1078"/>
                <a:gd name="T2" fmla="+- 0 531 531"/>
                <a:gd name="T3" fmla="*/ 531 h 361"/>
                <a:gd name="T4" fmla="+- 0 9865 9865"/>
                <a:gd name="T5" fmla="*/ T4 w 1078"/>
                <a:gd name="T6" fmla="+- 0 699 531"/>
                <a:gd name="T7" fmla="*/ 699 h 361"/>
                <a:gd name="T8" fmla="+- 0 10942 9865"/>
                <a:gd name="T9" fmla="*/ T8 w 1078"/>
                <a:gd name="T10" fmla="+- 0 891 531"/>
                <a:gd name="T11" fmla="*/ 891 h 361"/>
                <a:gd name="T12" fmla="+- 0 10942 9865"/>
                <a:gd name="T13" fmla="*/ T12 w 1078"/>
                <a:gd name="T14" fmla="+- 0 531 531"/>
                <a:gd name="T15" fmla="*/ 531 h 361"/>
              </a:gdLst>
              <a:ahLst/>
              <a:cxnLst>
                <a:cxn ang="0">
                  <a:pos x="T1" y="T3"/>
                </a:cxn>
                <a:cxn ang="0">
                  <a:pos x="T5" y="T7"/>
                </a:cxn>
                <a:cxn ang="0">
                  <a:pos x="T9" y="T11"/>
                </a:cxn>
                <a:cxn ang="0">
                  <a:pos x="T13" y="T15"/>
                </a:cxn>
              </a:cxnLst>
              <a:rect l="0" t="0" r="r" b="b"/>
              <a:pathLst>
                <a:path w="1078" h="361">
                  <a:moveTo>
                    <a:pt x="1077" y="0"/>
                  </a:moveTo>
                  <a:lnTo>
                    <a:pt x="0" y="168"/>
                  </a:lnTo>
                  <a:lnTo>
                    <a:pt x="1077" y="360"/>
                  </a:lnTo>
                  <a:lnTo>
                    <a:pt x="1077" y="0"/>
                  </a:lnTo>
                  <a:close/>
                </a:path>
              </a:pathLst>
            </a:custGeom>
            <a:solidFill>
              <a:srgbClr val="8DC858"/>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2" name="docshape31">
              <a:extLst>
                <a:ext uri="{FF2B5EF4-FFF2-40B4-BE49-F238E27FC236}">
                  <a16:creationId xmlns:a16="http://schemas.microsoft.com/office/drawing/2014/main" id="{71039F21-AA35-39B5-74A1-7E285A8CB452}"/>
                </a:ext>
              </a:extLst>
            </p:cNvPr>
            <p:cNvSpPr>
              <a:spLocks/>
            </p:cNvSpPr>
            <p:nvPr/>
          </p:nvSpPr>
          <p:spPr bwMode="auto">
            <a:xfrm>
              <a:off x="10331" y="144"/>
              <a:ext cx="745" cy="1127"/>
            </a:xfrm>
            <a:custGeom>
              <a:avLst/>
              <a:gdLst>
                <a:gd name="T0" fmla="+- 0 11073 10331"/>
                <a:gd name="T1" fmla="*/ T0 w 745"/>
                <a:gd name="T2" fmla="+- 0 1084 144"/>
                <a:gd name="T3" fmla="*/ 1084 h 1127"/>
                <a:gd name="T4" fmla="+- 0 10553 10331"/>
                <a:gd name="T5" fmla="*/ T4 w 745"/>
                <a:gd name="T6" fmla="+- 0 1084 144"/>
                <a:gd name="T7" fmla="*/ 1084 h 1127"/>
                <a:gd name="T8" fmla="+- 0 10553 10331"/>
                <a:gd name="T9" fmla="*/ T8 w 745"/>
                <a:gd name="T10" fmla="+- 0 884 144"/>
                <a:gd name="T11" fmla="*/ 884 h 1127"/>
                <a:gd name="T12" fmla="+- 0 10331 10331"/>
                <a:gd name="T13" fmla="*/ T12 w 745"/>
                <a:gd name="T14" fmla="+- 0 844 144"/>
                <a:gd name="T15" fmla="*/ 844 h 1127"/>
                <a:gd name="T16" fmla="+- 0 10331 10331"/>
                <a:gd name="T17" fmla="*/ T16 w 745"/>
                <a:gd name="T18" fmla="+- 0 1271 144"/>
                <a:gd name="T19" fmla="*/ 1271 h 1127"/>
                <a:gd name="T20" fmla="+- 0 11073 10331"/>
                <a:gd name="T21" fmla="*/ T20 w 745"/>
                <a:gd name="T22" fmla="+- 0 1271 144"/>
                <a:gd name="T23" fmla="*/ 1271 h 1127"/>
                <a:gd name="T24" fmla="+- 0 11073 10331"/>
                <a:gd name="T25" fmla="*/ T24 w 745"/>
                <a:gd name="T26" fmla="+- 0 1084 144"/>
                <a:gd name="T27" fmla="*/ 1084 h 1127"/>
                <a:gd name="T28" fmla="+- 0 11075 10331"/>
                <a:gd name="T29" fmla="*/ T28 w 745"/>
                <a:gd name="T30" fmla="+- 0 333 144"/>
                <a:gd name="T31" fmla="*/ 333 h 1127"/>
                <a:gd name="T32" fmla="+- 0 11073 10331"/>
                <a:gd name="T33" fmla="*/ T32 w 745"/>
                <a:gd name="T34" fmla="+- 0 144 144"/>
                <a:gd name="T35" fmla="*/ 144 h 1127"/>
                <a:gd name="T36" fmla="+- 0 10331 10331"/>
                <a:gd name="T37" fmla="*/ T36 w 745"/>
                <a:gd name="T38" fmla="+- 0 144 144"/>
                <a:gd name="T39" fmla="*/ 144 h 1127"/>
                <a:gd name="T40" fmla="+- 0 10331 10331"/>
                <a:gd name="T41" fmla="*/ T40 w 745"/>
                <a:gd name="T42" fmla="+- 0 562 144"/>
                <a:gd name="T43" fmla="*/ 562 h 1127"/>
                <a:gd name="T44" fmla="+- 0 10554 10331"/>
                <a:gd name="T45" fmla="*/ T44 w 745"/>
                <a:gd name="T46" fmla="+- 0 528 144"/>
                <a:gd name="T47" fmla="*/ 528 h 1127"/>
                <a:gd name="T48" fmla="+- 0 10554 10331"/>
                <a:gd name="T49" fmla="*/ T48 w 745"/>
                <a:gd name="T50" fmla="+- 0 333 144"/>
                <a:gd name="T51" fmla="*/ 333 h 1127"/>
                <a:gd name="T52" fmla="+- 0 11075 10331"/>
                <a:gd name="T53" fmla="*/ T52 w 745"/>
                <a:gd name="T54" fmla="+- 0 333 144"/>
                <a:gd name="T55" fmla="*/ 333 h 112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745" h="1127">
                  <a:moveTo>
                    <a:pt x="742" y="940"/>
                  </a:moveTo>
                  <a:lnTo>
                    <a:pt x="222" y="940"/>
                  </a:lnTo>
                  <a:lnTo>
                    <a:pt x="222" y="740"/>
                  </a:lnTo>
                  <a:lnTo>
                    <a:pt x="0" y="700"/>
                  </a:lnTo>
                  <a:lnTo>
                    <a:pt x="0" y="1127"/>
                  </a:lnTo>
                  <a:lnTo>
                    <a:pt x="742" y="1127"/>
                  </a:lnTo>
                  <a:lnTo>
                    <a:pt x="742" y="940"/>
                  </a:lnTo>
                  <a:close/>
                  <a:moveTo>
                    <a:pt x="744" y="189"/>
                  </a:moveTo>
                  <a:lnTo>
                    <a:pt x="742" y="0"/>
                  </a:lnTo>
                  <a:lnTo>
                    <a:pt x="0" y="0"/>
                  </a:lnTo>
                  <a:lnTo>
                    <a:pt x="0" y="418"/>
                  </a:lnTo>
                  <a:lnTo>
                    <a:pt x="223" y="384"/>
                  </a:lnTo>
                  <a:lnTo>
                    <a:pt x="223" y="189"/>
                  </a:lnTo>
                  <a:lnTo>
                    <a:pt x="744" y="189"/>
                  </a:lnTo>
                  <a:close/>
                </a:path>
              </a:pathLst>
            </a:custGeom>
            <a:solidFill>
              <a:srgbClr val="47626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3" name="docshape32">
              <a:extLst>
                <a:ext uri="{FF2B5EF4-FFF2-40B4-BE49-F238E27FC236}">
                  <a16:creationId xmlns:a16="http://schemas.microsoft.com/office/drawing/2014/main" id="{558E450A-67AA-AC89-5333-B42AC5B2FEB7}"/>
                </a:ext>
              </a:extLst>
            </p:cNvPr>
            <p:cNvSpPr>
              <a:spLocks/>
            </p:cNvSpPr>
            <p:nvPr/>
          </p:nvSpPr>
          <p:spPr bwMode="auto">
            <a:xfrm>
              <a:off x="9864" y="699"/>
              <a:ext cx="1078" cy="192"/>
            </a:xfrm>
            <a:custGeom>
              <a:avLst/>
              <a:gdLst>
                <a:gd name="T0" fmla="+- 0 10671 9865"/>
                <a:gd name="T1" fmla="*/ T0 w 1078"/>
                <a:gd name="T2" fmla="+- 0 699 699"/>
                <a:gd name="T3" fmla="*/ 699 h 192"/>
                <a:gd name="T4" fmla="+- 0 9865 9865"/>
                <a:gd name="T5" fmla="*/ T4 w 1078"/>
                <a:gd name="T6" fmla="+- 0 699 699"/>
                <a:gd name="T7" fmla="*/ 699 h 192"/>
                <a:gd name="T8" fmla="+- 0 10942 9865"/>
                <a:gd name="T9" fmla="*/ T8 w 1078"/>
                <a:gd name="T10" fmla="+- 0 891 699"/>
                <a:gd name="T11" fmla="*/ 891 h 192"/>
                <a:gd name="T12" fmla="+- 0 10671 9865"/>
                <a:gd name="T13" fmla="*/ T12 w 1078"/>
                <a:gd name="T14" fmla="+- 0 699 699"/>
                <a:gd name="T15" fmla="*/ 699 h 192"/>
              </a:gdLst>
              <a:ahLst/>
              <a:cxnLst>
                <a:cxn ang="0">
                  <a:pos x="T1" y="T3"/>
                </a:cxn>
                <a:cxn ang="0">
                  <a:pos x="T5" y="T7"/>
                </a:cxn>
                <a:cxn ang="0">
                  <a:pos x="T9" y="T11"/>
                </a:cxn>
                <a:cxn ang="0">
                  <a:pos x="T13" y="T15"/>
                </a:cxn>
              </a:cxnLst>
              <a:rect l="0" t="0" r="r" b="b"/>
              <a:pathLst>
                <a:path w="1078" h="192">
                  <a:moveTo>
                    <a:pt x="806" y="0"/>
                  </a:moveTo>
                  <a:lnTo>
                    <a:pt x="0" y="0"/>
                  </a:lnTo>
                  <a:lnTo>
                    <a:pt x="1077" y="192"/>
                  </a:lnTo>
                  <a:lnTo>
                    <a:pt x="806" y="0"/>
                  </a:lnTo>
                  <a:close/>
                </a:path>
              </a:pathLst>
            </a:custGeom>
            <a:solidFill>
              <a:srgbClr val="8DC858">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sp>
          <p:nvSpPr>
            <p:cNvPr id="24" name="docshape33">
              <a:extLst>
                <a:ext uri="{FF2B5EF4-FFF2-40B4-BE49-F238E27FC236}">
                  <a16:creationId xmlns:a16="http://schemas.microsoft.com/office/drawing/2014/main" id="{61DF0641-81FA-26E6-ABA9-C1658BBD4E5C}"/>
                </a:ext>
              </a:extLst>
            </p:cNvPr>
            <p:cNvSpPr>
              <a:spLocks/>
            </p:cNvSpPr>
            <p:nvPr/>
          </p:nvSpPr>
          <p:spPr bwMode="auto">
            <a:xfrm>
              <a:off x="9864" y="530"/>
              <a:ext cx="1078" cy="169"/>
            </a:xfrm>
            <a:custGeom>
              <a:avLst/>
              <a:gdLst>
                <a:gd name="T0" fmla="+- 0 10942 9865"/>
                <a:gd name="T1" fmla="*/ T0 w 1078"/>
                <a:gd name="T2" fmla="+- 0 531 531"/>
                <a:gd name="T3" fmla="*/ 531 h 169"/>
                <a:gd name="T4" fmla="+- 0 9865 9865"/>
                <a:gd name="T5" fmla="*/ T4 w 1078"/>
                <a:gd name="T6" fmla="+- 0 699 531"/>
                <a:gd name="T7" fmla="*/ 699 h 169"/>
                <a:gd name="T8" fmla="+- 0 10671 9865"/>
                <a:gd name="T9" fmla="*/ T8 w 1078"/>
                <a:gd name="T10" fmla="+- 0 699 531"/>
                <a:gd name="T11" fmla="*/ 699 h 169"/>
                <a:gd name="T12" fmla="+- 0 10942 9865"/>
                <a:gd name="T13" fmla="*/ T12 w 1078"/>
                <a:gd name="T14" fmla="+- 0 531 531"/>
                <a:gd name="T15" fmla="*/ 531 h 169"/>
              </a:gdLst>
              <a:ahLst/>
              <a:cxnLst>
                <a:cxn ang="0">
                  <a:pos x="T1" y="T3"/>
                </a:cxn>
                <a:cxn ang="0">
                  <a:pos x="T5" y="T7"/>
                </a:cxn>
                <a:cxn ang="0">
                  <a:pos x="T9" y="T11"/>
                </a:cxn>
                <a:cxn ang="0">
                  <a:pos x="T13" y="T15"/>
                </a:cxn>
              </a:cxnLst>
              <a:rect l="0" t="0" r="r" b="b"/>
              <a:pathLst>
                <a:path w="1078" h="169">
                  <a:moveTo>
                    <a:pt x="1077" y="0"/>
                  </a:moveTo>
                  <a:lnTo>
                    <a:pt x="0" y="168"/>
                  </a:lnTo>
                  <a:lnTo>
                    <a:pt x="806" y="168"/>
                  </a:lnTo>
                  <a:lnTo>
                    <a:pt x="1077" y="0"/>
                  </a:lnTo>
                  <a:close/>
                </a:path>
              </a:pathLst>
            </a:custGeom>
            <a:solidFill>
              <a:srgbClr val="B8D98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fr-FR" dirty="0"/>
            </a:p>
          </p:txBody>
        </p:sp>
      </p:grpSp>
      <p:sp>
        <p:nvSpPr>
          <p:cNvPr id="4" name="ZoneTexte 3">
            <a:extLst>
              <a:ext uri="{FF2B5EF4-FFF2-40B4-BE49-F238E27FC236}">
                <a16:creationId xmlns:a16="http://schemas.microsoft.com/office/drawing/2014/main" id="{1DF7B3C1-7A3F-55E0-B9C1-254C1850BFB7}"/>
              </a:ext>
            </a:extLst>
          </p:cNvPr>
          <p:cNvSpPr txBox="1"/>
          <p:nvPr/>
        </p:nvSpPr>
        <p:spPr>
          <a:xfrm>
            <a:off x="753033" y="1658536"/>
            <a:ext cx="10600767" cy="4785926"/>
          </a:xfrm>
          <a:prstGeom prst="rect">
            <a:avLst/>
          </a:prstGeom>
          <a:noFill/>
        </p:spPr>
        <p:txBody>
          <a:bodyPr wrap="square">
            <a:spAutoFit/>
          </a:bodyPr>
          <a:lstStyle/>
          <a:p>
            <a:pPr algn="just">
              <a:spcBef>
                <a:spcPts val="600"/>
              </a:spcBef>
              <a:spcAft>
                <a:spcPts val="600"/>
              </a:spcAft>
            </a:pPr>
            <a:r>
              <a:rPr lang="fr-FR" sz="2000" dirty="0">
                <a:solidFill>
                  <a:srgbClr val="404040"/>
                </a:solidFill>
                <a:effectLst/>
                <a:latin typeface="Kohinoor Devanagari" panose="02000000000000000000"/>
                <a:ea typeface="Times New Roman" panose="02020603050405020304" pitchFamily="18" charset="0"/>
              </a:rPr>
              <a:t>Un registre public sur les propriétaires effectifs est une source utile pour les entreprises en vue </a:t>
            </a:r>
            <a:r>
              <a:rPr lang="fr-FR" sz="2000" dirty="0">
                <a:solidFill>
                  <a:srgbClr val="404040"/>
                </a:solidFill>
                <a:latin typeface="Kohinoor Devanagari" panose="02000000000000000000"/>
                <a:ea typeface="Times New Roman" panose="02020603050405020304" pitchFamily="18" charset="0"/>
              </a:rPr>
              <a:t>d’</a:t>
            </a:r>
            <a:r>
              <a:rPr lang="fr-FR" sz="2000" dirty="0">
                <a:solidFill>
                  <a:srgbClr val="404040"/>
                </a:solidFill>
                <a:effectLst/>
                <a:latin typeface="Kohinoor Devanagari" panose="02000000000000000000"/>
                <a:ea typeface="Times New Roman" panose="02020603050405020304" pitchFamily="18" charset="0"/>
              </a:rPr>
              <a:t>effectuer les procédures de vérification de base de leurs partenaires commerciaux avant de rentrer en relation d’affaire. Le besoin de savoir à qui vous avez affaire s'applique à tous les types d'entreprises et tous les secteurs y compris les sociétés intervenant dans la chaine de valeur des industries extractives. </a:t>
            </a:r>
            <a:endParaRPr lang="fr-FR" sz="2000" dirty="0">
              <a:solidFill>
                <a:srgbClr val="404040"/>
              </a:solidFill>
              <a:effectLst/>
              <a:latin typeface="Arial" panose="020B0604020202020204" pitchFamily="34" charset="0"/>
              <a:ea typeface="Times New Roman" panose="02020603050405020304" pitchFamily="18" charset="0"/>
            </a:endParaRPr>
          </a:p>
          <a:p>
            <a:pPr algn="just">
              <a:spcBef>
                <a:spcPts val="600"/>
              </a:spcBef>
              <a:spcAft>
                <a:spcPts val="600"/>
              </a:spcAft>
            </a:pPr>
            <a:r>
              <a:rPr lang="fr-FR" sz="2000" dirty="0">
                <a:solidFill>
                  <a:srgbClr val="404040"/>
                </a:solidFill>
                <a:effectLst/>
                <a:latin typeface="Kohinoor Devanagari" panose="02000000000000000000"/>
                <a:ea typeface="Times New Roman" panose="02020603050405020304" pitchFamily="18" charset="0"/>
              </a:rPr>
              <a:t>Ceci est particulièrement vraie pour les petites et moyennes entreprises (PME) qui n'ont souvent pas les ressources financières nécessaires pour demander des enquêtes à des prestataires spécialisés et sont amenées en même temps à atténuer le risque d'être impliquées par inadvertance dans des conflits d'intérêts, des affaires de corruption ou d'autres activités criminelles ou contraires à l'éthique.</a:t>
            </a:r>
            <a:endParaRPr lang="fr-FR" sz="2000" dirty="0">
              <a:solidFill>
                <a:srgbClr val="404040"/>
              </a:solidFill>
              <a:effectLst/>
              <a:latin typeface="Arial" panose="020B0604020202020204" pitchFamily="34" charset="0"/>
              <a:ea typeface="Times New Roman" panose="02020603050405020304" pitchFamily="18" charset="0"/>
            </a:endParaRPr>
          </a:p>
          <a:p>
            <a:pPr algn="just">
              <a:spcBef>
                <a:spcPts val="600"/>
              </a:spcBef>
              <a:spcAft>
                <a:spcPts val="600"/>
              </a:spcAft>
            </a:pPr>
            <a:r>
              <a:rPr lang="fr-FR" sz="2000" b="1" dirty="0">
                <a:solidFill>
                  <a:srgbClr val="404040"/>
                </a:solidFill>
                <a:effectLst/>
                <a:latin typeface="Kohinoor Devanagari" panose="02000000000000000000"/>
                <a:ea typeface="Times New Roman" panose="02020603050405020304" pitchFamily="18" charset="0"/>
              </a:rPr>
              <a:t>La mise en place d’un registre public sur les propriétaires effectifs facilite aux PME d’évaluer les risques de leurs clients et fournisseurs avant de nouer des relations d’affaire et contribuera en conséquence à assainir le climat d’investissement. </a:t>
            </a:r>
            <a:endParaRPr lang="fr-FR" sz="2000" b="1" dirty="0">
              <a:solidFill>
                <a:srgbClr val="404040"/>
              </a:solidFill>
              <a:effectLst/>
              <a:latin typeface="Arial" panose="020B0604020202020204" pitchFamily="34" charset="0"/>
              <a:ea typeface="Times New Roman" panose="02020603050405020304" pitchFamily="18" charset="0"/>
            </a:endParaRPr>
          </a:p>
          <a:p>
            <a:pPr algn="l">
              <a:spcAft>
                <a:spcPts val="1200"/>
              </a:spcAft>
            </a:pPr>
            <a:endParaRPr lang="fr-FR" sz="2000" dirty="0">
              <a:solidFill>
                <a:srgbClr val="404040"/>
              </a:solidFill>
              <a:effectLst/>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3485762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wOxfnPiRja.5d9gYgAw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174</TotalTime>
  <Words>4358</Words>
  <Application>Microsoft Office PowerPoint</Application>
  <PresentationFormat>Grand écran</PresentationFormat>
  <Paragraphs>534</Paragraphs>
  <Slides>31</Slides>
  <Notes>5</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31</vt:i4>
      </vt:variant>
    </vt:vector>
  </HeadingPairs>
  <TitlesOfParts>
    <vt:vector size="38" baseType="lpstr">
      <vt:lpstr>Arial</vt:lpstr>
      <vt:lpstr>Calibri</vt:lpstr>
      <vt:lpstr>Calibri Light</vt:lpstr>
      <vt:lpstr>Kohinoor Devanagari</vt:lpstr>
      <vt:lpstr>Trebuchet MS</vt:lpstr>
      <vt:lpstr>Thème Office</vt:lpstr>
      <vt:lpstr>Diapositive think-cell</vt:lpstr>
      <vt:lpstr>Karim Lourimi k.lourimi@enerteam.tn </vt:lpstr>
      <vt:lpstr>Sommaire</vt:lpstr>
      <vt:lpstr>Présentation PowerPoint</vt:lpstr>
      <vt:lpstr>Opportunités Lutte contre la corruption</vt:lpstr>
      <vt:lpstr>Opportunités LBC/FT</vt:lpstr>
      <vt:lpstr>Opportunités Lutte contre les conflits d’intérêt</vt:lpstr>
      <vt:lpstr>Opportunités Lutte contre l’évasion fiscale</vt:lpstr>
      <vt:lpstr>Opportunités Sauvegarde des intérêts de l’Etat</vt:lpstr>
      <vt:lpstr>Opportunités Améliorer le climat des affaires</vt:lpstr>
      <vt:lpstr>Présentation PowerPoint</vt:lpstr>
      <vt:lpstr>Défis  Absence de cadre légal</vt:lpstr>
      <vt:lpstr>Défis Sensibilité des données sur les PPE</vt:lpstr>
      <vt:lpstr>Défis Difficultés d’identification des BE</vt:lpstr>
      <vt:lpstr>Défis Harmonisation des textes</vt:lpstr>
      <vt:lpstr>Obstacles Confidentialité des données</vt:lpstr>
      <vt:lpstr>Obstacles Cadre de sanction insuffisant </vt:lpstr>
      <vt:lpstr>Obstacles Absence d’un registre dématérialisé</vt:lpstr>
      <vt:lpstr>Présentation PowerPoint</vt:lpstr>
      <vt:lpstr>Recommandations </vt:lpstr>
      <vt:lpstr>Recommandations </vt:lpstr>
      <vt:lpstr>Recommandations </vt:lpstr>
      <vt:lpstr>Recommandations </vt:lpstr>
      <vt:lpstr>Recommandations </vt:lpstr>
      <vt:lpstr>Recommandations </vt:lpstr>
      <vt:lpstr>Recommandations </vt:lpstr>
      <vt:lpstr>Recommandations </vt:lpstr>
      <vt:lpstr>Présentation PowerPoint</vt:lpstr>
      <vt:lpstr>Plan de mise en œuvre</vt:lpstr>
      <vt:lpstr>Plan de mise en œuvre</vt:lpstr>
      <vt:lpstr>Plan de mise en œuvre</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Karim Lourimi</dc:creator>
  <cp:lastModifiedBy>Karim Lourimi</cp:lastModifiedBy>
  <cp:revision>5</cp:revision>
  <dcterms:created xsi:type="dcterms:W3CDTF">2022-09-07T12:38:52Z</dcterms:created>
  <dcterms:modified xsi:type="dcterms:W3CDTF">2022-12-14T15:12:45Z</dcterms:modified>
</cp:coreProperties>
</file>